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74" r:id="rId4"/>
    <p:sldMasterId id="2147483686" r:id="rId5"/>
    <p:sldMasterId id="2147483648" r:id="rId6"/>
  </p:sldMasterIdLst>
  <p:notesMasterIdLst>
    <p:notesMasterId r:id="rId18"/>
  </p:notesMasterIdLst>
  <p:handoutMasterIdLst>
    <p:handoutMasterId r:id="rId19"/>
  </p:handoutMasterIdLst>
  <p:sldIdLst>
    <p:sldId id="417" r:id="rId7"/>
    <p:sldId id="418" r:id="rId8"/>
    <p:sldId id="419" r:id="rId9"/>
    <p:sldId id="420" r:id="rId10"/>
    <p:sldId id="403" r:id="rId11"/>
    <p:sldId id="413" r:id="rId12"/>
    <p:sldId id="440" r:id="rId13"/>
    <p:sldId id="436" r:id="rId14"/>
    <p:sldId id="441" r:id="rId15"/>
    <p:sldId id="438" r:id="rId16"/>
    <p:sldId id="439" r:id="rId17"/>
  </p:sldIdLst>
  <p:sldSz cx="8999538" cy="5062538"/>
  <p:notesSz cx="6858000" cy="9144000"/>
  <p:embeddedFontLs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Georgia" panose="02040502050405020303" pitchFamily="18" charset="0"/>
      <p:regular r:id="rId24"/>
      <p:bold r:id="rId25"/>
      <p:italic r:id="rId26"/>
      <p:boldItalic r:id="rId27"/>
    </p:embeddedFont>
    <p:embeddedFont>
      <p:font typeface="Helvetica" panose="020B0604020202020204" pitchFamily="34" charset="0"/>
      <p:regular r:id="rId28"/>
      <p:bold r:id="rId29"/>
      <p:italic r:id="rId30"/>
      <p:boldItalic r:id="rId31"/>
    </p:embeddedFont>
    <p:embeddedFont>
      <p:font typeface="Source Serif Pro" panose="02040603050405020204" pitchFamily="18" charset="0"/>
      <p:regular r:id="rId32"/>
      <p:bold r:id="rId33"/>
      <p:italic r:id="rId34"/>
      <p:boldItalic r:id="rId35"/>
    </p:embeddedFont>
    <p:embeddedFont>
      <p:font typeface="Verdana" panose="020B0604030504040204" pitchFamily="34" charset="0"/>
      <p:regular r:id="rId36"/>
      <p:bold r:id="rId37"/>
      <p:italic r:id="rId38"/>
      <p:boldItalic r:id="rId39"/>
    </p:embeddedFont>
  </p:embeddedFontLst>
  <p:custDataLst>
    <p:tags r:id="rId4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95" userDrawn="1">
          <p15:clr>
            <a:srgbClr val="A4A3A4"/>
          </p15:clr>
        </p15:guide>
        <p15:guide id="2" pos="28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FDE09A-3AD9-70ED-B43D-2B13A4E440C4}" v="13" dt="2023-06-13T09:06:12.98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ijl, gemiddeld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28" autoAdjust="0"/>
    <p:restoredTop sz="96872" autoAdjust="0"/>
  </p:normalViewPr>
  <p:slideViewPr>
    <p:cSldViewPr showGuides="1">
      <p:cViewPr varScale="1">
        <p:scale>
          <a:sx n="153" d="100"/>
          <a:sy n="153" d="100"/>
        </p:scale>
        <p:origin x="234" y="132"/>
      </p:cViewPr>
      <p:guideLst>
        <p:guide orient="horz" pos="1595"/>
        <p:guide pos="283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6" d="100"/>
          <a:sy n="96" d="100"/>
        </p:scale>
        <p:origin x="3558" y="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7.fntdata"/><Relationship Id="rId39" Type="http://schemas.openxmlformats.org/officeDocument/2006/relationships/font" Target="fonts/font20.fntdata"/><Relationship Id="rId21" Type="http://schemas.openxmlformats.org/officeDocument/2006/relationships/font" Target="fonts/font2.fntdata"/><Relationship Id="rId34" Type="http://schemas.openxmlformats.org/officeDocument/2006/relationships/font" Target="fonts/font15.fntdata"/><Relationship Id="rId42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font" Target="fonts/font10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font" Target="fonts/font5.fntdata"/><Relationship Id="rId32" Type="http://schemas.openxmlformats.org/officeDocument/2006/relationships/font" Target="fonts/font13.fntdata"/><Relationship Id="rId37" Type="http://schemas.openxmlformats.org/officeDocument/2006/relationships/font" Target="fonts/font18.fntdata"/><Relationship Id="rId40" Type="http://schemas.openxmlformats.org/officeDocument/2006/relationships/tags" Target="tags/tag1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font" Target="fonts/font17.fntdata"/><Relationship Id="rId10" Type="http://schemas.openxmlformats.org/officeDocument/2006/relationships/slide" Target="slides/slide4.xml"/><Relationship Id="rId19" Type="http://schemas.openxmlformats.org/officeDocument/2006/relationships/handoutMaster" Target="handoutMasters/handoutMaster1.xml"/><Relationship Id="rId31" Type="http://schemas.openxmlformats.org/officeDocument/2006/relationships/font" Target="fonts/font12.fntdata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font" Target="fonts/font16.fntdata"/><Relationship Id="rId43" Type="http://schemas.openxmlformats.org/officeDocument/2006/relationships/theme" Target="theme/theme1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font" Target="fonts/font6.fntdata"/><Relationship Id="rId33" Type="http://schemas.openxmlformats.org/officeDocument/2006/relationships/font" Target="fonts/font14.fntdata"/><Relationship Id="rId38" Type="http://schemas.openxmlformats.org/officeDocument/2006/relationships/font" Target="fonts/font19.fntdata"/><Relationship Id="rId20" Type="http://schemas.openxmlformats.org/officeDocument/2006/relationships/font" Target="fonts/font1.fntdata"/><Relationship Id="rId41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5E62D78F-A6D2-46D9-AACE-93EBC8AB81D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FA4520C3-953E-484E-A96F-600FF1598EB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5D2709-AD91-4F01-8E59-A9C6FB25D75D}" type="datetimeFigureOut">
              <a:rPr lang="nl-NL" smtClean="0"/>
              <a:t>13-6-2023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3DE0D07E-8B6B-491D-80E9-2C719E7D111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C2734A60-9B86-4395-A4FC-5C581E2C22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769089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FF2A39-6F40-42A9-BDF9-4CE236BC03A3}" type="datetimeFigureOut">
              <a:rPr lang="nl-NL" smtClean="0"/>
              <a:t>13-6-2023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017050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74919" rtl="0" eaLnBrk="1" latinLnBrk="0" hangingPunct="1">
      <a:defRPr sz="886" kern="1200">
        <a:solidFill>
          <a:schemeClr val="tx1"/>
        </a:solidFill>
        <a:latin typeface="+mn-lt"/>
        <a:ea typeface="+mn-ea"/>
        <a:cs typeface="+mn-cs"/>
      </a:defRPr>
    </a:lvl1pPr>
    <a:lvl2pPr marL="337459" algn="l" defTabSz="674919" rtl="0" eaLnBrk="1" latinLnBrk="0" hangingPunct="1">
      <a:defRPr sz="886" kern="1200">
        <a:solidFill>
          <a:schemeClr val="tx1"/>
        </a:solidFill>
        <a:latin typeface="+mn-lt"/>
        <a:ea typeface="+mn-ea"/>
        <a:cs typeface="+mn-cs"/>
      </a:defRPr>
    </a:lvl2pPr>
    <a:lvl3pPr marL="674919" algn="l" defTabSz="674919" rtl="0" eaLnBrk="1" latinLnBrk="0" hangingPunct="1">
      <a:defRPr sz="886" kern="1200">
        <a:solidFill>
          <a:schemeClr val="tx1"/>
        </a:solidFill>
        <a:latin typeface="+mn-lt"/>
        <a:ea typeface="+mn-ea"/>
        <a:cs typeface="+mn-cs"/>
      </a:defRPr>
    </a:lvl3pPr>
    <a:lvl4pPr marL="1012378" algn="l" defTabSz="674919" rtl="0" eaLnBrk="1" latinLnBrk="0" hangingPunct="1">
      <a:defRPr sz="886" kern="1200">
        <a:solidFill>
          <a:schemeClr val="tx1"/>
        </a:solidFill>
        <a:latin typeface="+mn-lt"/>
        <a:ea typeface="+mn-ea"/>
        <a:cs typeface="+mn-cs"/>
      </a:defRPr>
    </a:lvl4pPr>
    <a:lvl5pPr marL="1349837" algn="l" defTabSz="674919" rtl="0" eaLnBrk="1" latinLnBrk="0" hangingPunct="1">
      <a:defRPr sz="886" kern="1200">
        <a:solidFill>
          <a:schemeClr val="tx1"/>
        </a:solidFill>
        <a:latin typeface="+mn-lt"/>
        <a:ea typeface="+mn-ea"/>
        <a:cs typeface="+mn-cs"/>
      </a:defRPr>
    </a:lvl5pPr>
    <a:lvl6pPr marL="1687297" algn="l" defTabSz="674919" rtl="0" eaLnBrk="1" latinLnBrk="0" hangingPunct="1">
      <a:defRPr sz="886" kern="1200">
        <a:solidFill>
          <a:schemeClr val="tx1"/>
        </a:solidFill>
        <a:latin typeface="+mn-lt"/>
        <a:ea typeface="+mn-ea"/>
        <a:cs typeface="+mn-cs"/>
      </a:defRPr>
    </a:lvl6pPr>
    <a:lvl7pPr marL="2024756" algn="l" defTabSz="674919" rtl="0" eaLnBrk="1" latinLnBrk="0" hangingPunct="1">
      <a:defRPr sz="886" kern="1200">
        <a:solidFill>
          <a:schemeClr val="tx1"/>
        </a:solidFill>
        <a:latin typeface="+mn-lt"/>
        <a:ea typeface="+mn-ea"/>
        <a:cs typeface="+mn-cs"/>
      </a:defRPr>
    </a:lvl7pPr>
    <a:lvl8pPr marL="2362215" algn="l" defTabSz="674919" rtl="0" eaLnBrk="1" latinLnBrk="0" hangingPunct="1">
      <a:defRPr sz="886" kern="1200">
        <a:solidFill>
          <a:schemeClr val="tx1"/>
        </a:solidFill>
        <a:latin typeface="+mn-lt"/>
        <a:ea typeface="+mn-ea"/>
        <a:cs typeface="+mn-cs"/>
      </a:defRPr>
    </a:lvl8pPr>
    <a:lvl9pPr marL="2699675" algn="l" defTabSz="674919" rtl="0" eaLnBrk="1" latinLnBrk="0" hangingPunct="1">
      <a:defRPr sz="88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97084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9" Type="http://schemas.openxmlformats.org/officeDocument/2006/relationships/image" Target="../media/image10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middle o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7171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hoek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nl-NL" sz="1600" b="0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19769" y="1607939"/>
            <a:ext cx="5760000" cy="1846659"/>
          </a:xfrm>
        </p:spPr>
        <p:txBody>
          <a:bodyPr anchor="ctr" anchorCtr="0"/>
          <a:lstStyle>
            <a:lvl1pPr algn="l">
              <a:lnSpc>
                <a:spcPct val="150000"/>
              </a:lnSpc>
              <a:defRPr sz="1600">
                <a:latin typeface="+mn-lt"/>
                <a:ea typeface="Verdana" panose="020B0306030504020204" pitchFamily="34" charset="0"/>
                <a:cs typeface="Verdana" panose="020B0306030504020204" pitchFamily="34" charset="0"/>
              </a:defRPr>
            </a:lvl1pPr>
          </a:lstStyle>
          <a:p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r>
              <a:rPr lang="nl-NL" dirty="0"/>
              <a:t> </a:t>
            </a:r>
            <a:r>
              <a:rPr lang="nl-NL" dirty="0" err="1"/>
              <a:t>dolor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, </a:t>
            </a:r>
            <a:r>
              <a:rPr lang="nl-NL" dirty="0" err="1"/>
              <a:t>sed</a:t>
            </a:r>
            <a:r>
              <a:rPr lang="nl-NL" dirty="0"/>
              <a:t> do </a:t>
            </a:r>
            <a:r>
              <a:rPr lang="nl-NL" dirty="0" err="1"/>
              <a:t>eiusmod</a:t>
            </a:r>
            <a:r>
              <a:rPr lang="nl-NL" dirty="0"/>
              <a:t> </a:t>
            </a:r>
            <a:r>
              <a:rPr lang="nl-NL" dirty="0" err="1"/>
              <a:t>tempor</a:t>
            </a:r>
            <a:r>
              <a:rPr lang="nl-NL" dirty="0"/>
              <a:t> </a:t>
            </a:r>
            <a:r>
              <a:rPr lang="nl-NL" dirty="0" err="1"/>
              <a:t>incididunt</a:t>
            </a:r>
            <a:r>
              <a:rPr lang="nl-NL" dirty="0"/>
              <a:t> ut </a:t>
            </a:r>
            <a:r>
              <a:rPr lang="nl-NL" dirty="0" err="1"/>
              <a:t>labore</a:t>
            </a:r>
            <a:r>
              <a:rPr lang="nl-NL" dirty="0"/>
              <a:t> et </a:t>
            </a:r>
            <a:r>
              <a:rPr lang="nl-NL" dirty="0" err="1"/>
              <a:t>dolore</a:t>
            </a:r>
            <a:r>
              <a:rPr lang="nl-NL" dirty="0"/>
              <a:t> magna </a:t>
            </a:r>
            <a:r>
              <a:rPr lang="nl-NL" dirty="0" err="1"/>
              <a:t>aliqua</a:t>
            </a:r>
            <a:r>
              <a:rPr lang="nl-NL" dirty="0"/>
              <a:t>. Ut </a:t>
            </a:r>
            <a:r>
              <a:rPr lang="nl-NL" dirty="0" err="1"/>
              <a:t>enim</a:t>
            </a:r>
            <a:r>
              <a:rPr lang="nl-NL" dirty="0"/>
              <a:t> ad </a:t>
            </a:r>
            <a:r>
              <a:rPr lang="nl-NL" dirty="0" err="1"/>
              <a:t>minim</a:t>
            </a:r>
            <a:r>
              <a:rPr lang="nl-NL" dirty="0"/>
              <a:t> </a:t>
            </a:r>
            <a:r>
              <a:rPr lang="nl-NL" dirty="0" err="1"/>
              <a:t>veniam</a:t>
            </a:r>
            <a:r>
              <a:rPr lang="nl-NL" dirty="0"/>
              <a:t>,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ostrud</a:t>
            </a:r>
            <a:r>
              <a:rPr lang="nl-NL" dirty="0"/>
              <a:t> </a:t>
            </a:r>
            <a:r>
              <a:rPr lang="nl-NL" dirty="0" err="1"/>
              <a:t>exercitation</a:t>
            </a:r>
            <a:r>
              <a:rPr lang="nl-NL" dirty="0"/>
              <a:t> </a:t>
            </a:r>
            <a:r>
              <a:rPr lang="nl-NL" dirty="0" err="1"/>
              <a:t>ullamco</a:t>
            </a:r>
            <a:r>
              <a:rPr lang="nl-NL" dirty="0"/>
              <a:t> </a:t>
            </a:r>
            <a:r>
              <a:rPr lang="nl-NL" dirty="0" err="1"/>
              <a:t>laboris</a:t>
            </a:r>
            <a:r>
              <a:rPr lang="nl-NL" dirty="0"/>
              <a:t> </a:t>
            </a:r>
            <a:r>
              <a:rPr lang="nl-NL" dirty="0" err="1"/>
              <a:t>nisi</a:t>
            </a:r>
            <a:r>
              <a:rPr lang="nl-NL" dirty="0"/>
              <a:t> ut </a:t>
            </a:r>
            <a:r>
              <a:rPr lang="nl-NL" dirty="0" err="1"/>
              <a:t>aliquip</a:t>
            </a:r>
            <a:r>
              <a:rPr lang="nl-NL" dirty="0"/>
              <a:t> ex </a:t>
            </a:r>
            <a:r>
              <a:rPr lang="nl-NL" dirty="0" err="1"/>
              <a:t>ea</a:t>
            </a:r>
            <a:r>
              <a:rPr lang="nl-NL" dirty="0"/>
              <a:t> commodo </a:t>
            </a:r>
            <a:r>
              <a:rPr lang="nl-NL" dirty="0" err="1"/>
              <a:t>consequat</a:t>
            </a:r>
            <a:r>
              <a:rPr lang="nl-NL" dirty="0"/>
              <a:t>.</a:t>
            </a:r>
            <a:endParaRPr lang="en-GB" dirty="0"/>
          </a:p>
        </p:txBody>
      </p:sp>
      <p:sp>
        <p:nvSpPr>
          <p:cNvPr id="3" name="Tijdelijke aanduiding voor dianummer 3">
            <a:extLst>
              <a:ext uri="{FF2B5EF4-FFF2-40B4-BE49-F238E27FC236}">
                <a16:creationId xmlns:a16="http://schemas.microsoft.com/office/drawing/2014/main" id="{AD9B5A65-6F8A-4D5F-94AE-262F8EE97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885034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808" y="727196"/>
            <a:ext cx="8278812" cy="24929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019F6820-B6E4-4096-994A-C6D33FB68E3E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358808" y="1307133"/>
            <a:ext cx="720000" cy="41081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553D3237-12EB-4137-89F2-A489DF37F1AF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358808" y="2956552"/>
            <a:ext cx="720000" cy="41081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1" name="Picture Placeholder 7">
            <a:extLst>
              <a:ext uri="{FF2B5EF4-FFF2-40B4-BE49-F238E27FC236}">
                <a16:creationId xmlns:a16="http://schemas.microsoft.com/office/drawing/2014/main" id="{E5506E9C-9241-4B85-98DF-7C554802541C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3239173" y="1307133"/>
            <a:ext cx="720000" cy="41081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5" name="Picture Placeholder 7">
            <a:extLst>
              <a:ext uri="{FF2B5EF4-FFF2-40B4-BE49-F238E27FC236}">
                <a16:creationId xmlns:a16="http://schemas.microsoft.com/office/drawing/2014/main" id="{397C2BDE-8EB1-4E56-8D17-5B37D46B78B7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3239536" y="2956552"/>
            <a:ext cx="720000" cy="41081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9" name="Picture Placeholder 7">
            <a:extLst>
              <a:ext uri="{FF2B5EF4-FFF2-40B4-BE49-F238E27FC236}">
                <a16:creationId xmlns:a16="http://schemas.microsoft.com/office/drawing/2014/main" id="{C3EF8C23-FA23-4F3B-84DD-6BE577840587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6118581" y="1307133"/>
            <a:ext cx="720000" cy="41081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53" name="Picture Placeholder 7">
            <a:extLst>
              <a:ext uri="{FF2B5EF4-FFF2-40B4-BE49-F238E27FC236}">
                <a16:creationId xmlns:a16="http://schemas.microsoft.com/office/drawing/2014/main" id="{52527339-329C-4B60-B068-966F4811D239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6118944" y="2956552"/>
            <a:ext cx="720000" cy="41081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29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808" y="4547493"/>
            <a:ext cx="8278812" cy="126573"/>
          </a:xfrm>
          <a:prstGeom prst="rect">
            <a:avLst/>
          </a:prstGeom>
        </p:spPr>
        <p:txBody>
          <a:bodyPr tIns="0"/>
          <a:lstStyle>
            <a:lvl1pPr algn="l">
              <a:defRPr sz="800" b="0" cap="none" spc="4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86AC15B8-D99B-421B-A8EF-91297DDC12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3206" y="1813199"/>
            <a:ext cx="2519635" cy="15840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2F7B6757-D607-47B7-8737-4E721DC17FC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3206" y="2195081"/>
            <a:ext cx="251963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19B6A155-170C-4802-8439-8CDFC00741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3206" y="2027540"/>
            <a:ext cx="2519635" cy="11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functie • partner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B58F71D1-B801-4220-BC07-45808381681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73206" y="2361758"/>
            <a:ext cx="251963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EC8321E-33FC-474B-8E11-5266BF1BADD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58352" y="3466039"/>
            <a:ext cx="2519635" cy="15840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DA76C4BF-963F-4B96-8A51-847EF98C55B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58352" y="3847921"/>
            <a:ext cx="251963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CF3209B-E5AF-42BB-AF37-B1B57DEDBF8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58352" y="3680380"/>
            <a:ext cx="2519635" cy="11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functie • partner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45A1F74-5738-4B25-AFF3-B4FB38A2204E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58352" y="4014598"/>
            <a:ext cx="251963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5A013040-619D-4F7E-A1C8-7429FDC7632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238396" y="1809847"/>
            <a:ext cx="2519635" cy="15840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4363E472-72FB-48FC-A1FF-1DE256D5B7F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38396" y="2191729"/>
            <a:ext cx="251963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5B0F8734-9C6E-4216-A4ED-1C0F4FD724D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238396" y="2024188"/>
            <a:ext cx="2519635" cy="11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functie • partner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12A3B03B-2036-4389-B35F-D6C2832DF37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238396" y="2358406"/>
            <a:ext cx="251963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A625B959-A612-4320-8755-BDE5D8979C3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236429" y="3466039"/>
            <a:ext cx="2519635" cy="15840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BD578D1A-63DF-4A0D-BA1E-609829B63F6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236429" y="3847921"/>
            <a:ext cx="251963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6F5B2799-ABF3-4AF2-B378-0C15E4AA817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236429" y="3680380"/>
            <a:ext cx="2519635" cy="11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functie • partner</a:t>
            </a: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93E680F1-020A-49A8-A3AC-B17AFD67527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236429" y="4014598"/>
            <a:ext cx="251963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3DB9F72C-483B-4BB2-9FDB-DEE3E24FB83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122735" y="1807390"/>
            <a:ext cx="2519635" cy="15840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E0384716-CDF2-4D76-81A2-2A3ACFAEE6D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22735" y="2189272"/>
            <a:ext cx="251963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28F45C4D-FE30-4EFC-98B3-8784E2D04A2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22735" y="2021731"/>
            <a:ext cx="2519635" cy="11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functie • partner</a:t>
            </a: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CABC5341-EB43-454B-9B51-96A794BA842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122735" y="2355949"/>
            <a:ext cx="251963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7211F46C-1FCE-4516-A540-8D9823D3CEF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21553" y="3466286"/>
            <a:ext cx="2519635" cy="15840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F21228C4-6538-4C8E-A002-DBF938399C5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21553" y="3848168"/>
            <a:ext cx="251963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862A1414-B309-4789-B73C-B638E3BBE2D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121553" y="3680627"/>
            <a:ext cx="2519635" cy="11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functie • partner</a:t>
            </a: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81B69BFA-07EB-4EFB-9EEC-C218A407BAD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21553" y="4014845"/>
            <a:ext cx="251963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38" name="Tijdelijke aanduiding voor dianummer 3">
            <a:extLst>
              <a:ext uri="{FF2B5EF4-FFF2-40B4-BE49-F238E27FC236}">
                <a16:creationId xmlns:a16="http://schemas.microsoft.com/office/drawing/2014/main" id="{4589B3D9-FD5E-45B3-B9BA-98ED4B6F22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777983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x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7841" y="735529"/>
            <a:ext cx="8278812" cy="24929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A35416DB-8861-41B3-BEE8-F4A09F5EF5F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337841" y="1235125"/>
            <a:ext cx="720000" cy="41081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38704EA-ABB2-49FA-8624-BB397B6DF422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360594" y="2884544"/>
            <a:ext cx="720000" cy="41081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6A9A997D-2BD4-460B-B126-461FF7BC208E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520231" y="1235125"/>
            <a:ext cx="720000" cy="41081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61B30AE7-BA89-46DB-A180-D39B0994B0B7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2520231" y="2884544"/>
            <a:ext cx="720000" cy="41081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25" name="Picture Placeholder 7">
            <a:extLst>
              <a:ext uri="{FF2B5EF4-FFF2-40B4-BE49-F238E27FC236}">
                <a16:creationId xmlns:a16="http://schemas.microsoft.com/office/drawing/2014/main" id="{5EB1BE2F-0807-48DD-B224-782ECD8D4761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6816422" y="1239463"/>
            <a:ext cx="720000" cy="41081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AA84846D-949D-4AFE-8620-D2EBEFF50A7A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6816422" y="2884544"/>
            <a:ext cx="720000" cy="41081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3" name="Picture Placeholder 7">
            <a:extLst>
              <a:ext uri="{FF2B5EF4-FFF2-40B4-BE49-F238E27FC236}">
                <a16:creationId xmlns:a16="http://schemas.microsoft.com/office/drawing/2014/main" id="{97359A6A-30AF-405C-95C6-2B4BDD79001F}"/>
              </a:ext>
            </a:extLst>
          </p:cNvPr>
          <p:cNvSpPr>
            <a:spLocks noGrp="1" noChangeAspect="1"/>
          </p:cNvSpPr>
          <p:nvPr>
            <p:ph type="pic" sz="quarter" idx="43"/>
          </p:nvPr>
        </p:nvSpPr>
        <p:spPr>
          <a:xfrm>
            <a:off x="4680231" y="1235125"/>
            <a:ext cx="720000" cy="41081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EC2DF839-4F17-4868-B650-35D6E5D47584}"/>
              </a:ext>
            </a:extLst>
          </p:cNvPr>
          <p:cNvSpPr>
            <a:spLocks noGrp="1" noChangeAspect="1"/>
          </p:cNvSpPr>
          <p:nvPr>
            <p:ph type="pic" sz="quarter" idx="47"/>
          </p:nvPr>
        </p:nvSpPr>
        <p:spPr>
          <a:xfrm>
            <a:off x="4680231" y="2884544"/>
            <a:ext cx="720000" cy="41081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3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7841" y="4521571"/>
            <a:ext cx="8278581" cy="126573"/>
          </a:xfrm>
          <a:prstGeom prst="rect">
            <a:avLst/>
          </a:prstGeom>
        </p:spPr>
        <p:txBody>
          <a:bodyPr tIns="0"/>
          <a:lstStyle>
            <a:lvl1pPr algn="l">
              <a:defRPr sz="800" b="0" cap="none" spc="4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44F1AE99-5877-4DB7-878D-5D1AF40CC00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7841" y="1742965"/>
            <a:ext cx="1823115" cy="15840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BFC3425-655A-4F39-AC4C-4B240F899C6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7841" y="2124847"/>
            <a:ext cx="182311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76C064D-D4AA-43C0-910D-16EC0047E5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7841" y="1957306"/>
            <a:ext cx="1823115" cy="11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functie • partner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7569462B-06A8-4A73-9E8F-98CC491AC59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37841" y="2291524"/>
            <a:ext cx="182311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1FACC629-9D7D-4ED0-AEEC-EC5E0827CC6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520925" y="1742965"/>
            <a:ext cx="1823115" cy="15840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0E544B9F-456A-4862-B88E-1AEE885928B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520925" y="2124847"/>
            <a:ext cx="182311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C3EEC1C9-266D-4466-BCF7-3CDE0D43EB0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2520925" y="1957306"/>
            <a:ext cx="1823115" cy="11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functie • partner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D8C0702E-1BAB-4410-BB46-27189641D15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520925" y="2291524"/>
            <a:ext cx="182311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7A3D5E0B-A203-4FBE-8CEF-0B778BA154D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682615" y="1742965"/>
            <a:ext cx="1823115" cy="15840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D90B2CED-A515-46AF-BF2A-4F4C3C1FFBEC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682615" y="2124847"/>
            <a:ext cx="182311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56EAE1E8-E08A-490D-8995-9F2524F381AF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82615" y="1957306"/>
            <a:ext cx="1823115" cy="11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functie • partner</a:t>
            </a: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F260E8F3-2E68-45B4-8372-494F240A9C1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682615" y="2291524"/>
            <a:ext cx="182311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9E194FFA-32A2-4B13-9148-D840F2799A0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816422" y="1742965"/>
            <a:ext cx="1823115" cy="15840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D9E87073-5088-42DC-B457-BDA48AF3C71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816422" y="2124847"/>
            <a:ext cx="182311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AC7DC84-FB67-4C46-9CBA-FACC940E6C6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816422" y="1957306"/>
            <a:ext cx="1823115" cy="11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functie • partner</a:t>
            </a: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0C3AAA21-7967-4AC1-BC43-1DFD79899B2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816422" y="2291524"/>
            <a:ext cx="182311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96F0E775-7EB0-4097-9E6B-8A7FAE5753B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37116" y="3421157"/>
            <a:ext cx="1823115" cy="15840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73ADD028-8DF2-4E79-AC5B-456037A0529D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337116" y="3803039"/>
            <a:ext cx="182311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D63BBE12-4C81-4106-9038-7B74101C7C5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37116" y="3635498"/>
            <a:ext cx="1823115" cy="11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functie • partner</a:t>
            </a: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C19A20CD-A0BD-4299-9174-5AACE33E231D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37116" y="3969716"/>
            <a:ext cx="182311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FDD8CBAD-F189-40F8-83D3-349163E0A087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530814" y="3421157"/>
            <a:ext cx="1823115" cy="15840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DBC99352-32C3-434B-8715-06F9F652FC10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2530814" y="3803039"/>
            <a:ext cx="182311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175D33E0-4007-446C-A5C1-43F5B6336F0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2530814" y="3635498"/>
            <a:ext cx="1823115" cy="11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functie • partner</a:t>
            </a: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642F2488-6EF0-4D98-8480-861B71E8ED88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2530814" y="3969716"/>
            <a:ext cx="182311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F0B6A9B6-35FA-4A02-BCCA-29413AEE832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682615" y="3414999"/>
            <a:ext cx="1823115" cy="15840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2936B93D-851B-4CD0-B852-432793312CC0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4682615" y="3796881"/>
            <a:ext cx="182311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1F4CC120-C2D6-43E1-8C94-F23B3CE5BBEF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4682615" y="3629340"/>
            <a:ext cx="1823115" cy="11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functie • partner</a:t>
            </a: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FD8B0693-7B19-4B92-B88F-592E806DFCBE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4682615" y="3963558"/>
            <a:ext cx="182311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8E269D94-AF2E-42FA-AB1F-E5A79715A780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816422" y="3410535"/>
            <a:ext cx="1823115" cy="15840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0B91D215-F9A4-49F6-BADE-06B442970CE1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816422" y="3792417"/>
            <a:ext cx="182311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F6355EEF-D814-47D6-B1BC-20D80BF10E40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816422" y="3624876"/>
            <a:ext cx="1823115" cy="11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functie • partner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AD6E2CF0-34AD-4F81-BAB4-FADF484FC995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6816422" y="3959094"/>
            <a:ext cx="1823115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46" name="Tijdelijke aanduiding voor dianummer 3">
            <a:extLst>
              <a:ext uri="{FF2B5EF4-FFF2-40B4-BE49-F238E27FC236}">
                <a16:creationId xmlns:a16="http://schemas.microsoft.com/office/drawing/2014/main" id="{033A682E-B64A-47B9-8332-7A206985D2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302165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2x1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686" y="731069"/>
            <a:ext cx="8278812" cy="24929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B27515D-73E9-4238-8A51-3706E99FCB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8686" y="1297307"/>
            <a:ext cx="3959406" cy="153888"/>
          </a:xfrm>
        </p:spPr>
        <p:txBody>
          <a:bodyPr/>
          <a:lstStyle>
            <a:lvl1pPr>
              <a:lnSpc>
                <a:spcPct val="100000"/>
              </a:lnSpc>
              <a:defRPr sz="1000" b="0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lnSpc>
                <a:spcPct val="150000"/>
              </a:lnSpc>
              <a:defRPr sz="1050">
                <a:solidFill>
                  <a:schemeClr val="bg2"/>
                </a:solidFill>
              </a:defRPr>
            </a:lvl2pPr>
            <a:lvl3pPr>
              <a:lnSpc>
                <a:spcPct val="150000"/>
              </a:lnSpc>
              <a:defRPr sz="1050">
                <a:solidFill>
                  <a:schemeClr val="bg2"/>
                </a:solidFill>
              </a:defRPr>
            </a:lvl3pPr>
            <a:lvl4pPr>
              <a:lnSpc>
                <a:spcPct val="150000"/>
              </a:lnSpc>
              <a:defRPr sz="1050">
                <a:solidFill>
                  <a:schemeClr val="bg2"/>
                </a:solidFill>
                <a:latin typeface="+mn-lt"/>
              </a:defRPr>
            </a:lvl4pPr>
            <a:lvl5pPr>
              <a:lnSpc>
                <a:spcPct val="150000"/>
              </a:lnSpc>
              <a:defRPr sz="105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4E655D7-C46F-4115-A5A5-A0384A0D0EA2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435250" y="1297307"/>
            <a:ext cx="2232248" cy="133934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A7A78A8-3D4B-4EDC-960A-86243D9FAA12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6435250" y="3025101"/>
            <a:ext cx="2232248" cy="133934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8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6919" y="4533979"/>
            <a:ext cx="8250579" cy="126573"/>
          </a:xfrm>
          <a:prstGeom prst="rect">
            <a:avLst/>
          </a:prstGeom>
        </p:spPr>
        <p:txBody>
          <a:bodyPr tIns="0"/>
          <a:lstStyle>
            <a:lvl1pPr algn="l">
              <a:defRPr sz="800" b="0" cap="none" spc="4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7" name="Tijdelijke aanduiding voor dianummer 3">
            <a:extLst>
              <a:ext uri="{FF2B5EF4-FFF2-40B4-BE49-F238E27FC236}">
                <a16:creationId xmlns:a16="http://schemas.microsoft.com/office/drawing/2014/main" id="{2AD5F5B8-A2F2-4391-BE63-B5BA16DC72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658825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2x2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140" y="731069"/>
            <a:ext cx="8278812" cy="24929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0F44FC9-2790-4ED3-B923-5951714ADA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86907" y="1287746"/>
            <a:ext cx="180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F627AE1B-F13A-44D5-831F-756D5EDAC4A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48139" y="1287746"/>
            <a:ext cx="180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7B2FB38E-53A3-48B7-A994-14E99AD9C5C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86907" y="2718157"/>
            <a:ext cx="180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3" name="Picture Placeholder 3">
            <a:extLst>
              <a:ext uri="{FF2B5EF4-FFF2-40B4-BE49-F238E27FC236}">
                <a16:creationId xmlns:a16="http://schemas.microsoft.com/office/drawing/2014/main" id="{6FDAD87D-0E59-46E6-9285-BAA5C63782B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845952" y="2718157"/>
            <a:ext cx="180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B27515D-73E9-4238-8A51-3706E99FCB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7140" y="1287746"/>
            <a:ext cx="3959406" cy="153888"/>
          </a:xfrm>
        </p:spPr>
        <p:txBody>
          <a:bodyPr/>
          <a:lstStyle>
            <a:lvl1pPr>
              <a:lnSpc>
                <a:spcPct val="100000"/>
              </a:lnSpc>
              <a:defRPr sz="1000" b="0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lnSpc>
                <a:spcPct val="150000"/>
              </a:lnSpc>
              <a:defRPr sz="1050">
                <a:solidFill>
                  <a:schemeClr val="bg2"/>
                </a:solidFill>
              </a:defRPr>
            </a:lvl2pPr>
            <a:lvl3pPr>
              <a:lnSpc>
                <a:spcPct val="150000"/>
              </a:lnSpc>
              <a:defRPr sz="1050">
                <a:solidFill>
                  <a:schemeClr val="bg2"/>
                </a:solidFill>
              </a:defRPr>
            </a:lvl3pPr>
            <a:lvl4pPr>
              <a:lnSpc>
                <a:spcPct val="150000"/>
              </a:lnSpc>
              <a:defRPr sz="1050">
                <a:solidFill>
                  <a:schemeClr val="bg2"/>
                </a:solidFill>
              </a:defRPr>
            </a:lvl4pPr>
            <a:lvl5pPr>
              <a:lnSpc>
                <a:spcPct val="150000"/>
              </a:lnSpc>
              <a:defRPr sz="105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10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7140" y="4547493"/>
            <a:ext cx="8278812" cy="126573"/>
          </a:xfrm>
          <a:prstGeom prst="rect">
            <a:avLst/>
          </a:prstGeom>
        </p:spPr>
        <p:txBody>
          <a:bodyPr tIns="0"/>
          <a:lstStyle>
            <a:lvl1pPr algn="l">
              <a:defRPr sz="800" b="0" cap="none" spc="4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9" name="Tijdelijke aanduiding voor dianummer 3">
            <a:extLst>
              <a:ext uri="{FF2B5EF4-FFF2-40B4-BE49-F238E27FC236}">
                <a16:creationId xmlns:a16="http://schemas.microsoft.com/office/drawing/2014/main" id="{56D50D5A-3848-4485-8F03-2A61B6ABB1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82491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3" y="731069"/>
            <a:ext cx="8278812" cy="24929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0F44FC9-2790-4ED3-B923-5951714ADA3A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115393" y="1184718"/>
            <a:ext cx="2520000" cy="1512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F627AE1B-F13A-44D5-831F-756D5EDAC4A1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5435393" y="1184717"/>
            <a:ext cx="2520000" cy="1512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7B2FB38E-53A3-48B7-A994-14E99AD9C5CF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1115393" y="2912511"/>
            <a:ext cx="2520000" cy="1512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3" name="Picture Placeholder 3">
            <a:extLst>
              <a:ext uri="{FF2B5EF4-FFF2-40B4-BE49-F238E27FC236}">
                <a16:creationId xmlns:a16="http://schemas.microsoft.com/office/drawing/2014/main" id="{6FDAD87D-0E59-46E6-9285-BAA5C63782B4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5435393" y="2912511"/>
            <a:ext cx="2520000" cy="1512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9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363" y="4662055"/>
            <a:ext cx="8278812" cy="126573"/>
          </a:xfrm>
          <a:prstGeom prst="rect">
            <a:avLst/>
          </a:prstGeom>
        </p:spPr>
        <p:txBody>
          <a:bodyPr tIns="0"/>
          <a:lstStyle>
            <a:lvl1pPr algn="l">
              <a:defRPr sz="800" b="0" cap="none" spc="4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8" name="Tijdelijke aanduiding voor dianummer 3">
            <a:extLst>
              <a:ext uri="{FF2B5EF4-FFF2-40B4-BE49-F238E27FC236}">
                <a16:creationId xmlns:a16="http://schemas.microsoft.com/office/drawing/2014/main" id="{DBDCDD4D-E18A-42C1-A97E-84EF2F7774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401508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751" y="731069"/>
            <a:ext cx="8278812" cy="24929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40FA6D5-150A-4DE1-A143-F5CB019E4A09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360363" y="1119909"/>
            <a:ext cx="2520000" cy="151249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577520AE-52CC-4531-AC67-73C5675C9414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3239769" y="1119909"/>
            <a:ext cx="2520000" cy="1512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0F44FC9-2790-4ED3-B923-5951714ADA3A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119175" y="1119909"/>
            <a:ext cx="2520000" cy="1512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D245DEA2-71BA-4435-A571-ECADA0F5B3C1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60363" y="2847702"/>
            <a:ext cx="2520000" cy="151249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3C75FD5C-3360-492C-A788-A543B56E6EDF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3239769" y="2847702"/>
            <a:ext cx="2520000" cy="1512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7B2FB38E-53A3-48B7-A994-14E99AD9C5CF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119175" y="2847702"/>
            <a:ext cx="2520000" cy="1512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12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492" y="4515630"/>
            <a:ext cx="8264683" cy="126573"/>
          </a:xfrm>
          <a:prstGeom prst="rect">
            <a:avLst/>
          </a:prstGeom>
        </p:spPr>
        <p:txBody>
          <a:bodyPr tIns="0"/>
          <a:lstStyle>
            <a:lvl1pPr algn="l">
              <a:defRPr sz="800" b="0" cap="none" spc="4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10" name="Tijdelijke aanduiding voor dianummer 3">
            <a:extLst>
              <a:ext uri="{FF2B5EF4-FFF2-40B4-BE49-F238E27FC236}">
                <a16:creationId xmlns:a16="http://schemas.microsoft.com/office/drawing/2014/main" id="{B6073A5C-306E-464A-980C-C7089C7CA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1512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4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3" y="747128"/>
            <a:ext cx="8278812" cy="24929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40FA6D5-150A-4DE1-A143-F5CB019E4A0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59999" y="1307133"/>
            <a:ext cx="1799406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577520AE-52CC-4531-AC67-73C5675C941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519404" y="1307133"/>
            <a:ext cx="180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0F44FC9-2790-4ED3-B923-5951714ADA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79405" y="1307133"/>
            <a:ext cx="180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F627AE1B-F13A-44D5-831F-756D5EDAC4A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8811" y="1307133"/>
            <a:ext cx="180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D245DEA2-71BA-4435-A571-ECADA0F5B3C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9999" y="2747132"/>
            <a:ext cx="1799406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3C75FD5C-3360-492C-A788-A543B56E6E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519404" y="2747132"/>
            <a:ext cx="180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7B2FB38E-53A3-48B7-A994-14E99AD9C5C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79405" y="2747132"/>
            <a:ext cx="180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3" name="Picture Placeholder 3">
            <a:extLst>
              <a:ext uri="{FF2B5EF4-FFF2-40B4-BE49-F238E27FC236}">
                <a16:creationId xmlns:a16="http://schemas.microsoft.com/office/drawing/2014/main" id="{6FDAD87D-0E59-46E6-9285-BAA5C63782B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838811" y="2747132"/>
            <a:ext cx="180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13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9" y="4547493"/>
            <a:ext cx="8278812" cy="126573"/>
          </a:xfrm>
          <a:prstGeom prst="rect">
            <a:avLst/>
          </a:prstGeom>
        </p:spPr>
        <p:txBody>
          <a:bodyPr tIns="0"/>
          <a:lstStyle>
            <a:lvl1pPr algn="l">
              <a:defRPr sz="800" b="0" cap="none" spc="4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12" name="Tijdelijke aanduiding voor dianummer 3">
            <a:extLst>
              <a:ext uri="{FF2B5EF4-FFF2-40B4-BE49-F238E27FC236}">
                <a16:creationId xmlns:a16="http://schemas.microsoft.com/office/drawing/2014/main" id="{B2B7C18B-67DE-4D5B-9ED2-09F1F24610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950178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6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852" y="722249"/>
            <a:ext cx="8278812" cy="24929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40FA6D5-150A-4DE1-A143-F5CB019E4A09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351852" y="1307133"/>
            <a:ext cx="1259406" cy="75589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7A4AC9D-2269-4D1A-9240-6E5ED3C3B05E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1778613" y="1307132"/>
            <a:ext cx="1230000" cy="75589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44B85179-5678-4B72-B7B8-1528E873E795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175968" y="1307132"/>
            <a:ext cx="1230000" cy="75589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1DC8AD3C-C34C-4AC2-BB38-0CAABF1B87F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73323" y="1307132"/>
            <a:ext cx="1230001" cy="75589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B980F404-C623-4FF9-92E3-266E4CA5442D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7362747" y="1307131"/>
            <a:ext cx="1259406" cy="75589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1E1D5D60-1FFA-4634-83A2-716C876B0F7C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970679" y="1307131"/>
            <a:ext cx="1230001" cy="75589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68BCAE91-00D9-4E21-86CA-85C6B0341B92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351852" y="2243782"/>
            <a:ext cx="1259406" cy="75589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F220E30F-8696-4853-9E48-731C166AA8B2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1778613" y="2243781"/>
            <a:ext cx="1230000" cy="75589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9BA710AB-431A-4FC8-BBD4-38DDFF54AA69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3175968" y="2243781"/>
            <a:ext cx="1230000" cy="75589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2B596985-26EF-4B30-8E29-DC94278804F6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573323" y="2243781"/>
            <a:ext cx="1230001" cy="75589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9" name="Picture Placeholder 3">
            <a:extLst>
              <a:ext uri="{FF2B5EF4-FFF2-40B4-BE49-F238E27FC236}">
                <a16:creationId xmlns:a16="http://schemas.microsoft.com/office/drawing/2014/main" id="{771A5DC1-66FD-4B07-B7A6-486B9A4B73CF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362747" y="2243780"/>
            <a:ext cx="1259406" cy="75589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4" name="Picture Placeholder 3">
            <a:extLst>
              <a:ext uri="{FF2B5EF4-FFF2-40B4-BE49-F238E27FC236}">
                <a16:creationId xmlns:a16="http://schemas.microsoft.com/office/drawing/2014/main" id="{9BCDAC1D-A7F3-49A2-80C1-202979EF0666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5970679" y="2243780"/>
            <a:ext cx="1230001" cy="75589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5" name="Picture Placeholder 3">
            <a:extLst>
              <a:ext uri="{FF2B5EF4-FFF2-40B4-BE49-F238E27FC236}">
                <a16:creationId xmlns:a16="http://schemas.microsoft.com/office/drawing/2014/main" id="{96E38452-A536-4E74-85E7-C768D5B2217D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351852" y="3180429"/>
            <a:ext cx="1259406" cy="75589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6" name="Picture Placeholder 3">
            <a:extLst>
              <a:ext uri="{FF2B5EF4-FFF2-40B4-BE49-F238E27FC236}">
                <a16:creationId xmlns:a16="http://schemas.microsoft.com/office/drawing/2014/main" id="{D32301F8-7777-4971-A094-DC98FC8244D0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1778613" y="3180428"/>
            <a:ext cx="1230000" cy="75589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6915660F-9236-45AC-82AC-2B21188C2067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3175968" y="3180428"/>
            <a:ext cx="1230000" cy="75589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8" name="Picture Placeholder 3">
            <a:extLst>
              <a:ext uri="{FF2B5EF4-FFF2-40B4-BE49-F238E27FC236}">
                <a16:creationId xmlns:a16="http://schemas.microsoft.com/office/drawing/2014/main" id="{0B2E2FF3-41C3-4BD2-8D5C-DE5F04A2F512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4573323" y="3180428"/>
            <a:ext cx="1230001" cy="75589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D5AFDA2E-2904-486E-B1AC-6D3963F5A6D6}"/>
              </a:ext>
            </a:extLst>
          </p:cNvPr>
          <p:cNvSpPr>
            <a:spLocks noGrp="1" noChangeAspect="1"/>
          </p:cNvSpPr>
          <p:nvPr>
            <p:ph type="pic" sz="quarter" idx="34"/>
          </p:nvPr>
        </p:nvSpPr>
        <p:spPr>
          <a:xfrm>
            <a:off x="7362747" y="3180427"/>
            <a:ext cx="1259406" cy="75589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60DAFA51-29E5-4F11-B94F-C6B04114EAD0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5970679" y="3180427"/>
            <a:ext cx="1230001" cy="755893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23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1852" y="4549640"/>
            <a:ext cx="8278812" cy="126573"/>
          </a:xfrm>
          <a:prstGeom prst="rect">
            <a:avLst/>
          </a:prstGeom>
        </p:spPr>
        <p:txBody>
          <a:bodyPr tIns="0"/>
          <a:lstStyle>
            <a:lvl1pPr algn="l">
              <a:defRPr sz="800" b="0" cap="none" spc="4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22" name="Tijdelijke aanduiding voor dianummer 3">
            <a:extLst>
              <a:ext uri="{FF2B5EF4-FFF2-40B4-BE49-F238E27FC236}">
                <a16:creationId xmlns:a16="http://schemas.microsoft.com/office/drawing/2014/main" id="{63EFD453-D787-474D-82A6-4046F27B05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552685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8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3035589D-0230-49C0-90EF-06DA3307D93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365418" y="1307131"/>
            <a:ext cx="877499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B04BC4A-493A-4EB4-BF55-18E828682A76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1401469" y="1307132"/>
            <a:ext cx="877499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094BD5AA-C036-4F0B-8194-2836E5E204AB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457606" y="1307132"/>
            <a:ext cx="884625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F3DDA8DF-5F70-423B-A0D6-26E021AF8256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3520869" y="1307132"/>
            <a:ext cx="877864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84618549-B049-467F-ACFA-8B9FD4720184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577371" y="1307132"/>
            <a:ext cx="877863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80419396-3B74-408C-A50B-AF467F92272A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5633872" y="1307132"/>
            <a:ext cx="877863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C1C20A3C-B343-405E-9805-FD06373C3224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690373" y="1307132"/>
            <a:ext cx="877862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95116F8-D462-4A19-8852-67B41668CE60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7746874" y="1307131"/>
            <a:ext cx="877864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B6864C8F-222E-45A9-AFD5-3B2120554239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365418" y="1898952"/>
            <a:ext cx="877499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F4BB74BE-98E9-4BB1-B275-BB64CE7AF5AE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1401469" y="1898953"/>
            <a:ext cx="877499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0D770247-1A4D-4E93-A198-63D029C77AE4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2457606" y="1898953"/>
            <a:ext cx="884625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7F96C0AC-F134-450D-BA4A-779311E30286}"/>
              </a:ext>
            </a:extLst>
          </p:cNvPr>
          <p:cNvSpPr>
            <a:spLocks noGrp="1" noChangeAspect="1"/>
          </p:cNvSpPr>
          <p:nvPr>
            <p:ph type="pic" sz="quarter" idx="34"/>
          </p:nvPr>
        </p:nvSpPr>
        <p:spPr>
          <a:xfrm>
            <a:off x="3520869" y="1898953"/>
            <a:ext cx="877864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4E1A7436-F7E1-45F3-9140-2E37F5DB7DDC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577371" y="1898953"/>
            <a:ext cx="877863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EF061261-47FB-447E-8805-D3C15C47461C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5633872" y="1898953"/>
            <a:ext cx="877863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9" name="Picture Placeholder 3">
            <a:extLst>
              <a:ext uri="{FF2B5EF4-FFF2-40B4-BE49-F238E27FC236}">
                <a16:creationId xmlns:a16="http://schemas.microsoft.com/office/drawing/2014/main" id="{4DD5B748-58A6-444C-95F2-F9D19DEF34FA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690373" y="1898953"/>
            <a:ext cx="877862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174E3369-4566-4ED5-99C8-C153FFE72BF8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7746874" y="1898952"/>
            <a:ext cx="877864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1863F07C-68A2-42D3-B0A0-7219CD8E930D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365418" y="2490772"/>
            <a:ext cx="877499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417A8CA2-2034-40DB-87DF-475644CAB471}"/>
              </a:ext>
            </a:extLst>
          </p:cNvPr>
          <p:cNvSpPr>
            <a:spLocks noGrp="1" noChangeAspect="1"/>
          </p:cNvSpPr>
          <p:nvPr>
            <p:ph type="pic" sz="quarter" idx="40"/>
          </p:nvPr>
        </p:nvSpPr>
        <p:spPr>
          <a:xfrm>
            <a:off x="1401469" y="2490773"/>
            <a:ext cx="877499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3" name="Picture Placeholder 3">
            <a:extLst>
              <a:ext uri="{FF2B5EF4-FFF2-40B4-BE49-F238E27FC236}">
                <a16:creationId xmlns:a16="http://schemas.microsoft.com/office/drawing/2014/main" id="{83C2FA12-766A-42DD-80EB-3783C757EAF5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2457606" y="2490773"/>
            <a:ext cx="884625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4" name="Picture Placeholder 3">
            <a:extLst>
              <a:ext uri="{FF2B5EF4-FFF2-40B4-BE49-F238E27FC236}">
                <a16:creationId xmlns:a16="http://schemas.microsoft.com/office/drawing/2014/main" id="{F56FB375-5AD2-4173-8242-A3EC26740387}"/>
              </a:ext>
            </a:extLst>
          </p:cNvPr>
          <p:cNvSpPr>
            <a:spLocks noGrp="1" noChangeAspect="1"/>
          </p:cNvSpPr>
          <p:nvPr>
            <p:ph type="pic" sz="quarter" idx="42"/>
          </p:nvPr>
        </p:nvSpPr>
        <p:spPr>
          <a:xfrm>
            <a:off x="3520869" y="2490773"/>
            <a:ext cx="877864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5" name="Picture Placeholder 3">
            <a:extLst>
              <a:ext uri="{FF2B5EF4-FFF2-40B4-BE49-F238E27FC236}">
                <a16:creationId xmlns:a16="http://schemas.microsoft.com/office/drawing/2014/main" id="{721CA91C-3ACE-44FB-8ABA-367443FB1BF8}"/>
              </a:ext>
            </a:extLst>
          </p:cNvPr>
          <p:cNvSpPr>
            <a:spLocks noGrp="1" noChangeAspect="1"/>
          </p:cNvSpPr>
          <p:nvPr>
            <p:ph type="pic" sz="quarter" idx="43"/>
          </p:nvPr>
        </p:nvSpPr>
        <p:spPr>
          <a:xfrm>
            <a:off x="4577371" y="2490773"/>
            <a:ext cx="877863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6" name="Picture Placeholder 3">
            <a:extLst>
              <a:ext uri="{FF2B5EF4-FFF2-40B4-BE49-F238E27FC236}">
                <a16:creationId xmlns:a16="http://schemas.microsoft.com/office/drawing/2014/main" id="{5B02024A-CD15-44EB-8E7D-0C76D19D1F55}"/>
              </a:ext>
            </a:extLst>
          </p:cNvPr>
          <p:cNvSpPr>
            <a:spLocks noGrp="1" noChangeAspect="1"/>
          </p:cNvSpPr>
          <p:nvPr>
            <p:ph type="pic" sz="quarter" idx="44"/>
          </p:nvPr>
        </p:nvSpPr>
        <p:spPr>
          <a:xfrm>
            <a:off x="5633872" y="2490773"/>
            <a:ext cx="877863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18B36677-0E15-4567-BC0B-3809D9CE0290}"/>
              </a:ext>
            </a:extLst>
          </p:cNvPr>
          <p:cNvSpPr>
            <a:spLocks noGrp="1" noChangeAspect="1"/>
          </p:cNvSpPr>
          <p:nvPr>
            <p:ph type="pic" sz="quarter" idx="45"/>
          </p:nvPr>
        </p:nvSpPr>
        <p:spPr>
          <a:xfrm>
            <a:off x="6690373" y="2490773"/>
            <a:ext cx="877862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8" name="Picture Placeholder 3">
            <a:extLst>
              <a:ext uri="{FF2B5EF4-FFF2-40B4-BE49-F238E27FC236}">
                <a16:creationId xmlns:a16="http://schemas.microsoft.com/office/drawing/2014/main" id="{1E6C17D9-1328-4785-B296-86554B152CF9}"/>
              </a:ext>
            </a:extLst>
          </p:cNvPr>
          <p:cNvSpPr>
            <a:spLocks noGrp="1" noChangeAspect="1"/>
          </p:cNvSpPr>
          <p:nvPr>
            <p:ph type="pic" sz="quarter" idx="46"/>
          </p:nvPr>
        </p:nvSpPr>
        <p:spPr>
          <a:xfrm>
            <a:off x="7746874" y="2490772"/>
            <a:ext cx="877864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E58D09C8-96AD-4144-A79D-2107B0517F1B}"/>
              </a:ext>
            </a:extLst>
          </p:cNvPr>
          <p:cNvSpPr>
            <a:spLocks noGrp="1" noChangeAspect="1"/>
          </p:cNvSpPr>
          <p:nvPr>
            <p:ph type="pic" sz="quarter" idx="47"/>
          </p:nvPr>
        </p:nvSpPr>
        <p:spPr>
          <a:xfrm>
            <a:off x="358755" y="3082591"/>
            <a:ext cx="877499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F351BE6D-E546-477C-88BD-63264C60F081}"/>
              </a:ext>
            </a:extLst>
          </p:cNvPr>
          <p:cNvSpPr>
            <a:spLocks noGrp="1" noChangeAspect="1"/>
          </p:cNvSpPr>
          <p:nvPr>
            <p:ph type="pic" sz="quarter" idx="48"/>
          </p:nvPr>
        </p:nvSpPr>
        <p:spPr>
          <a:xfrm>
            <a:off x="1401469" y="3082592"/>
            <a:ext cx="877499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BD675967-40DB-4FE0-80E4-D6FF5C20EBC0}"/>
              </a:ext>
            </a:extLst>
          </p:cNvPr>
          <p:cNvSpPr>
            <a:spLocks noGrp="1" noChangeAspect="1"/>
          </p:cNvSpPr>
          <p:nvPr>
            <p:ph type="pic" sz="quarter" idx="49"/>
          </p:nvPr>
        </p:nvSpPr>
        <p:spPr>
          <a:xfrm>
            <a:off x="2457606" y="3082592"/>
            <a:ext cx="884625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52" name="Picture Placeholder 3">
            <a:extLst>
              <a:ext uri="{FF2B5EF4-FFF2-40B4-BE49-F238E27FC236}">
                <a16:creationId xmlns:a16="http://schemas.microsoft.com/office/drawing/2014/main" id="{4A994672-D385-4362-B469-34AE75F58D4E}"/>
              </a:ext>
            </a:extLst>
          </p:cNvPr>
          <p:cNvSpPr>
            <a:spLocks noGrp="1" noChangeAspect="1"/>
          </p:cNvSpPr>
          <p:nvPr>
            <p:ph type="pic" sz="quarter" idx="50"/>
          </p:nvPr>
        </p:nvSpPr>
        <p:spPr>
          <a:xfrm>
            <a:off x="3520869" y="3082592"/>
            <a:ext cx="877864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36C418EF-BF72-4D79-94CF-6988C7AD84FB}"/>
              </a:ext>
            </a:extLst>
          </p:cNvPr>
          <p:cNvSpPr>
            <a:spLocks noGrp="1" noChangeAspect="1"/>
          </p:cNvSpPr>
          <p:nvPr>
            <p:ph type="pic" sz="quarter" idx="51"/>
          </p:nvPr>
        </p:nvSpPr>
        <p:spPr>
          <a:xfrm>
            <a:off x="4577371" y="3082592"/>
            <a:ext cx="877863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E114E864-F2EF-49FC-A528-FF85C6708378}"/>
              </a:ext>
            </a:extLst>
          </p:cNvPr>
          <p:cNvSpPr>
            <a:spLocks noGrp="1" noChangeAspect="1"/>
          </p:cNvSpPr>
          <p:nvPr>
            <p:ph type="pic" sz="quarter" idx="52"/>
          </p:nvPr>
        </p:nvSpPr>
        <p:spPr>
          <a:xfrm>
            <a:off x="5633872" y="3082592"/>
            <a:ext cx="877863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065608E-BF5A-403D-AC8B-D3DDAC7DB2E7}"/>
              </a:ext>
            </a:extLst>
          </p:cNvPr>
          <p:cNvSpPr>
            <a:spLocks noGrp="1" noChangeAspect="1"/>
          </p:cNvSpPr>
          <p:nvPr>
            <p:ph type="pic" sz="quarter" idx="53"/>
          </p:nvPr>
        </p:nvSpPr>
        <p:spPr>
          <a:xfrm>
            <a:off x="6690373" y="3082592"/>
            <a:ext cx="877862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3EBB9E84-5230-44B1-8037-F12D0DCFA632}"/>
              </a:ext>
            </a:extLst>
          </p:cNvPr>
          <p:cNvSpPr>
            <a:spLocks noGrp="1" noChangeAspect="1"/>
          </p:cNvSpPr>
          <p:nvPr>
            <p:ph type="pic" sz="quarter" idx="54"/>
          </p:nvPr>
        </p:nvSpPr>
        <p:spPr>
          <a:xfrm>
            <a:off x="7746874" y="3082591"/>
            <a:ext cx="877864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73" name="Picture Placeholder 3">
            <a:extLst>
              <a:ext uri="{FF2B5EF4-FFF2-40B4-BE49-F238E27FC236}">
                <a16:creationId xmlns:a16="http://schemas.microsoft.com/office/drawing/2014/main" id="{1ED4DB8F-E1BE-4F17-BF79-99BCA72FF9B6}"/>
              </a:ext>
            </a:extLst>
          </p:cNvPr>
          <p:cNvSpPr>
            <a:spLocks noGrp="1" noChangeAspect="1"/>
          </p:cNvSpPr>
          <p:nvPr>
            <p:ph type="pic" sz="quarter" idx="55"/>
          </p:nvPr>
        </p:nvSpPr>
        <p:spPr>
          <a:xfrm>
            <a:off x="365418" y="3674413"/>
            <a:ext cx="877499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74" name="Picture Placeholder 3">
            <a:extLst>
              <a:ext uri="{FF2B5EF4-FFF2-40B4-BE49-F238E27FC236}">
                <a16:creationId xmlns:a16="http://schemas.microsoft.com/office/drawing/2014/main" id="{C0DC402E-7D4A-42BC-9FAB-FC1FB93CAF0C}"/>
              </a:ext>
            </a:extLst>
          </p:cNvPr>
          <p:cNvSpPr>
            <a:spLocks noGrp="1" noChangeAspect="1"/>
          </p:cNvSpPr>
          <p:nvPr>
            <p:ph type="pic" sz="quarter" idx="56"/>
          </p:nvPr>
        </p:nvSpPr>
        <p:spPr>
          <a:xfrm>
            <a:off x="1401469" y="3674414"/>
            <a:ext cx="877499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75" name="Picture Placeholder 3">
            <a:extLst>
              <a:ext uri="{FF2B5EF4-FFF2-40B4-BE49-F238E27FC236}">
                <a16:creationId xmlns:a16="http://schemas.microsoft.com/office/drawing/2014/main" id="{C435A3FE-2F91-4BD6-B56F-D3313B52F7C8}"/>
              </a:ext>
            </a:extLst>
          </p:cNvPr>
          <p:cNvSpPr>
            <a:spLocks noGrp="1" noChangeAspect="1"/>
          </p:cNvSpPr>
          <p:nvPr>
            <p:ph type="pic" sz="quarter" idx="57"/>
          </p:nvPr>
        </p:nvSpPr>
        <p:spPr>
          <a:xfrm>
            <a:off x="2457606" y="3674414"/>
            <a:ext cx="884625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76" name="Picture Placeholder 3">
            <a:extLst>
              <a:ext uri="{FF2B5EF4-FFF2-40B4-BE49-F238E27FC236}">
                <a16:creationId xmlns:a16="http://schemas.microsoft.com/office/drawing/2014/main" id="{10F50096-7A27-49C7-AC29-096EDA1595C9}"/>
              </a:ext>
            </a:extLst>
          </p:cNvPr>
          <p:cNvSpPr>
            <a:spLocks noGrp="1" noChangeAspect="1"/>
          </p:cNvSpPr>
          <p:nvPr>
            <p:ph type="pic" sz="quarter" idx="58"/>
          </p:nvPr>
        </p:nvSpPr>
        <p:spPr>
          <a:xfrm>
            <a:off x="3520869" y="3674414"/>
            <a:ext cx="877864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77" name="Picture Placeholder 3">
            <a:extLst>
              <a:ext uri="{FF2B5EF4-FFF2-40B4-BE49-F238E27FC236}">
                <a16:creationId xmlns:a16="http://schemas.microsoft.com/office/drawing/2014/main" id="{FD33B708-9A29-408E-9C40-E6A201B39E89}"/>
              </a:ext>
            </a:extLst>
          </p:cNvPr>
          <p:cNvSpPr>
            <a:spLocks noGrp="1" noChangeAspect="1"/>
          </p:cNvSpPr>
          <p:nvPr>
            <p:ph type="pic" sz="quarter" idx="59"/>
          </p:nvPr>
        </p:nvSpPr>
        <p:spPr>
          <a:xfrm>
            <a:off x="4577371" y="3674414"/>
            <a:ext cx="877863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78" name="Picture Placeholder 3">
            <a:extLst>
              <a:ext uri="{FF2B5EF4-FFF2-40B4-BE49-F238E27FC236}">
                <a16:creationId xmlns:a16="http://schemas.microsoft.com/office/drawing/2014/main" id="{42C383E2-04C0-40BF-9DD6-E7825FF63750}"/>
              </a:ext>
            </a:extLst>
          </p:cNvPr>
          <p:cNvSpPr>
            <a:spLocks noGrp="1" noChangeAspect="1"/>
          </p:cNvSpPr>
          <p:nvPr>
            <p:ph type="pic" sz="quarter" idx="60"/>
          </p:nvPr>
        </p:nvSpPr>
        <p:spPr>
          <a:xfrm>
            <a:off x="5633872" y="3674414"/>
            <a:ext cx="877863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79" name="Picture Placeholder 3">
            <a:extLst>
              <a:ext uri="{FF2B5EF4-FFF2-40B4-BE49-F238E27FC236}">
                <a16:creationId xmlns:a16="http://schemas.microsoft.com/office/drawing/2014/main" id="{8A535F99-8694-4010-9956-F571E6FB67F3}"/>
              </a:ext>
            </a:extLst>
          </p:cNvPr>
          <p:cNvSpPr>
            <a:spLocks noGrp="1" noChangeAspect="1"/>
          </p:cNvSpPr>
          <p:nvPr>
            <p:ph type="pic" sz="quarter" idx="61"/>
          </p:nvPr>
        </p:nvSpPr>
        <p:spPr>
          <a:xfrm>
            <a:off x="6690373" y="3674414"/>
            <a:ext cx="877862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80" name="Picture Placeholder 3">
            <a:extLst>
              <a:ext uri="{FF2B5EF4-FFF2-40B4-BE49-F238E27FC236}">
                <a16:creationId xmlns:a16="http://schemas.microsoft.com/office/drawing/2014/main" id="{48EE2A83-B1C0-4A10-B4A8-D07F9B7D488A}"/>
              </a:ext>
            </a:extLst>
          </p:cNvPr>
          <p:cNvSpPr>
            <a:spLocks noGrp="1" noChangeAspect="1"/>
          </p:cNvSpPr>
          <p:nvPr>
            <p:ph type="pic" sz="quarter" idx="62"/>
          </p:nvPr>
        </p:nvSpPr>
        <p:spPr>
          <a:xfrm>
            <a:off x="7746874" y="3674413"/>
            <a:ext cx="877864" cy="43192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58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0618" y="4535400"/>
            <a:ext cx="8308557" cy="126573"/>
          </a:xfrm>
          <a:prstGeom prst="rect">
            <a:avLst/>
          </a:prstGeom>
        </p:spPr>
        <p:txBody>
          <a:bodyPr tIns="0"/>
          <a:lstStyle>
            <a:lvl1pPr algn="l">
              <a:defRPr sz="800" b="0" cap="none" spc="4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57" name="Tijdelijke aanduiding voor dianummer 3">
            <a:extLst>
              <a:ext uri="{FF2B5EF4-FFF2-40B4-BE49-F238E27FC236}">
                <a16:creationId xmlns:a16="http://schemas.microsoft.com/office/drawing/2014/main" id="{64131548-94A0-4C74-B324-19DAA64458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004029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2x2 with excer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4428DDAF-726A-4173-A72D-B0827FF120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59175" y="1241876"/>
            <a:ext cx="1799406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ADEBEC7E-1A12-4CA4-ACCC-05D6BD5199D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519174" y="1241876"/>
            <a:ext cx="180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D313ADB-02F5-4F92-9A32-696766B96E4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79175" y="1241876"/>
            <a:ext cx="180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DBD33FD3-9F2D-4EE5-B2C2-69854AE2883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8581" y="1241876"/>
            <a:ext cx="180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D08CAEF9-C410-4411-86DF-0B6217C78C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175" y="2419307"/>
            <a:ext cx="1799406" cy="123111"/>
          </a:xfrm>
        </p:spPr>
        <p:txBody>
          <a:bodyPr/>
          <a:lstStyle>
            <a:lvl1pPr algn="ctr">
              <a:lnSpc>
                <a:spcPct val="100000"/>
              </a:lnSpc>
              <a:defRPr sz="800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00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00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00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32DDD3B-A164-4CB6-A5C4-F7FE517ADBB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19768" y="2419307"/>
            <a:ext cx="1799406" cy="123111"/>
          </a:xfrm>
        </p:spPr>
        <p:txBody>
          <a:bodyPr/>
          <a:lstStyle>
            <a:lvl1pPr algn="ctr">
              <a:lnSpc>
                <a:spcPct val="100000"/>
              </a:lnSpc>
              <a:defRPr sz="800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00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00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00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8FDB7F4-DA2B-4E8A-99F6-DC4FA5F5092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79769" y="2419307"/>
            <a:ext cx="1799406" cy="123111"/>
          </a:xfrm>
        </p:spPr>
        <p:txBody>
          <a:bodyPr/>
          <a:lstStyle>
            <a:lvl1pPr algn="ctr">
              <a:lnSpc>
                <a:spcPct val="100000"/>
              </a:lnSpc>
              <a:defRPr sz="800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00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00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00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C69028C-EB4B-434E-944A-E0547EF186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39175" y="2419307"/>
            <a:ext cx="1799406" cy="123111"/>
          </a:xfrm>
        </p:spPr>
        <p:txBody>
          <a:bodyPr/>
          <a:lstStyle>
            <a:lvl1pPr algn="ctr">
              <a:lnSpc>
                <a:spcPct val="100000"/>
              </a:lnSpc>
              <a:defRPr sz="800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00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00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00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13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9769" y="4547493"/>
            <a:ext cx="8278812" cy="126573"/>
          </a:xfrm>
          <a:prstGeom prst="rect">
            <a:avLst/>
          </a:prstGeom>
        </p:spPr>
        <p:txBody>
          <a:bodyPr tIns="0"/>
          <a:lstStyle>
            <a:lvl1pPr algn="l">
              <a:defRPr sz="800" b="0" cap="none" spc="4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12" name="Tijdelijke aanduiding voor dianummer 3">
            <a:extLst>
              <a:ext uri="{FF2B5EF4-FFF2-40B4-BE49-F238E27FC236}">
                <a16:creationId xmlns:a16="http://schemas.microsoft.com/office/drawing/2014/main" id="{AD2316F1-6EF9-4C04-8417-4961EFC265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829227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with graph 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769" y="731069"/>
            <a:ext cx="8280000" cy="248400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GB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F58CED-6FD8-46B7-8756-B6F44B94DD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769" y="1285800"/>
            <a:ext cx="3959769" cy="153888"/>
          </a:xfrm>
        </p:spPr>
        <p:txBody>
          <a:bodyPr/>
          <a:lstStyle>
            <a:lvl1pPr>
              <a:lnSpc>
                <a:spcPct val="100000"/>
              </a:lnSpc>
              <a:defRPr sz="1000" b="0" cap="none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lnSpc>
                <a:spcPct val="150000"/>
              </a:lnSpc>
              <a:defRPr sz="1050">
                <a:solidFill>
                  <a:schemeClr val="bg2"/>
                </a:solidFill>
              </a:defRPr>
            </a:lvl2pPr>
            <a:lvl3pPr>
              <a:lnSpc>
                <a:spcPct val="150000"/>
              </a:lnSpc>
              <a:defRPr sz="1050">
                <a:solidFill>
                  <a:schemeClr val="bg2"/>
                </a:solidFill>
              </a:defRPr>
            </a:lvl3pPr>
            <a:lvl4pPr>
              <a:lnSpc>
                <a:spcPct val="150000"/>
              </a:lnSpc>
              <a:defRPr sz="1050">
                <a:solidFill>
                  <a:schemeClr val="bg2"/>
                </a:solidFill>
              </a:defRPr>
            </a:lvl4pPr>
            <a:lvl5pPr>
              <a:lnSpc>
                <a:spcPct val="150000"/>
              </a:lnSpc>
              <a:defRPr sz="105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8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769" y="4458254"/>
            <a:ext cx="8278812" cy="126573"/>
          </a:xfrm>
          <a:prstGeom prst="rect">
            <a:avLst/>
          </a:prstGeom>
        </p:spPr>
        <p:txBody>
          <a:bodyPr tIns="0"/>
          <a:lstStyle>
            <a:lvl1pPr algn="l">
              <a:defRPr sz="800" b="0" cap="none" spc="4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55D5574F-2CF7-4F18-AFFB-F5BB7B2CAA3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818366" y="1285800"/>
            <a:ext cx="3820215" cy="303705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6" name="Tijdelijke aanduiding voor dianummer 3">
            <a:extLst>
              <a:ext uri="{FF2B5EF4-FFF2-40B4-BE49-F238E27FC236}">
                <a16:creationId xmlns:a16="http://schemas.microsoft.com/office/drawing/2014/main" id="{C7B47865-4F2A-4DA5-9407-38FE623DB1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906750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3x2 with excer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40FA6D5-150A-4DE1-A143-F5CB019E4A0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59769" y="1288209"/>
            <a:ext cx="252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577520AE-52CC-4531-AC67-73C5675C941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239175" y="1288209"/>
            <a:ext cx="252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0F44FC9-2790-4ED3-B923-5951714ADA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18581" y="1288209"/>
            <a:ext cx="252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D245DEA2-71BA-4435-A571-ECADA0F5B3C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9769" y="2911339"/>
            <a:ext cx="252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3C75FD5C-3360-492C-A788-A543B56E6E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39175" y="2911339"/>
            <a:ext cx="252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7B2FB38E-53A3-48B7-A994-14E99AD9C5C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8581" y="2911339"/>
            <a:ext cx="252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95A6C3D-13B0-4B32-BD91-8E7265D221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175" y="2466190"/>
            <a:ext cx="2520594" cy="123111"/>
          </a:xfrm>
        </p:spPr>
        <p:txBody>
          <a:bodyPr/>
          <a:lstStyle>
            <a:lvl1pPr algn="ctr">
              <a:lnSpc>
                <a:spcPct val="100000"/>
              </a:lnSpc>
              <a:defRPr sz="800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00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00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00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18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769" y="4499665"/>
            <a:ext cx="8278812" cy="126573"/>
          </a:xfrm>
          <a:prstGeom prst="rect">
            <a:avLst/>
          </a:prstGeom>
        </p:spPr>
        <p:txBody>
          <a:bodyPr tIns="0"/>
          <a:lstStyle>
            <a:lvl1pPr algn="l">
              <a:defRPr sz="800" b="0" cap="none" spc="4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95A6C3D-13B0-4B32-BD91-8E7265D221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39175" y="2466190"/>
            <a:ext cx="2520594" cy="123111"/>
          </a:xfrm>
        </p:spPr>
        <p:txBody>
          <a:bodyPr/>
          <a:lstStyle>
            <a:lvl1pPr algn="ctr">
              <a:lnSpc>
                <a:spcPct val="100000"/>
              </a:lnSpc>
              <a:defRPr sz="800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00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00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00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95A6C3D-13B0-4B32-BD91-8E7265D221A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19175" y="2466190"/>
            <a:ext cx="2520594" cy="123111"/>
          </a:xfrm>
        </p:spPr>
        <p:txBody>
          <a:bodyPr/>
          <a:lstStyle>
            <a:lvl1pPr algn="ctr">
              <a:lnSpc>
                <a:spcPct val="100000"/>
              </a:lnSpc>
              <a:defRPr sz="800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00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00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00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95A6C3D-13B0-4B32-BD91-8E7265D221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9175" y="4076339"/>
            <a:ext cx="2520594" cy="123111"/>
          </a:xfrm>
        </p:spPr>
        <p:txBody>
          <a:bodyPr/>
          <a:lstStyle>
            <a:lvl1pPr algn="ctr">
              <a:lnSpc>
                <a:spcPct val="100000"/>
              </a:lnSpc>
              <a:defRPr sz="800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00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00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00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95A6C3D-13B0-4B32-BD91-8E7265D221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9175" y="4076339"/>
            <a:ext cx="2520594" cy="123111"/>
          </a:xfrm>
        </p:spPr>
        <p:txBody>
          <a:bodyPr/>
          <a:lstStyle>
            <a:lvl1pPr algn="ctr">
              <a:lnSpc>
                <a:spcPct val="100000"/>
              </a:lnSpc>
              <a:defRPr sz="800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00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00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00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95A6C3D-13B0-4B32-BD91-8E7265D221A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19175" y="4076339"/>
            <a:ext cx="2520594" cy="123111"/>
          </a:xfrm>
        </p:spPr>
        <p:txBody>
          <a:bodyPr/>
          <a:lstStyle>
            <a:lvl1pPr algn="ctr">
              <a:lnSpc>
                <a:spcPct val="100000"/>
              </a:lnSpc>
              <a:defRPr sz="800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00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00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00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16" name="Tijdelijke aanduiding voor dianummer 3">
            <a:extLst>
              <a:ext uri="{FF2B5EF4-FFF2-40B4-BE49-F238E27FC236}">
                <a16:creationId xmlns:a16="http://schemas.microsoft.com/office/drawing/2014/main" id="{F59199AD-89F4-4870-A74F-FB95CBD296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282652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4x2 with excer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40FA6D5-150A-4DE1-A143-F5CB019E4A0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59769" y="1293720"/>
            <a:ext cx="1799406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577520AE-52CC-4531-AC67-73C5675C941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519174" y="1293720"/>
            <a:ext cx="180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0F44FC9-2790-4ED3-B923-5951714ADA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79175" y="1293720"/>
            <a:ext cx="180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F627AE1B-F13A-44D5-831F-756D5EDAC4A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8581" y="1293720"/>
            <a:ext cx="180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D245DEA2-71BA-4435-A571-ECADA0F5B3C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9769" y="2915795"/>
            <a:ext cx="1799406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3C75FD5C-3360-492C-A788-A543B56E6E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519174" y="2915795"/>
            <a:ext cx="180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7B2FB38E-53A3-48B7-A994-14E99AD9C5C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79175" y="2915795"/>
            <a:ext cx="180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43" name="Picture Placeholder 3">
            <a:extLst>
              <a:ext uri="{FF2B5EF4-FFF2-40B4-BE49-F238E27FC236}">
                <a16:creationId xmlns:a16="http://schemas.microsoft.com/office/drawing/2014/main" id="{6FDAD87D-0E59-46E6-9285-BAA5C63782B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838581" y="2915795"/>
            <a:ext cx="1800000" cy="108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7031282-75C4-49B7-AC21-C10F20EB8F9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175" y="2471151"/>
            <a:ext cx="1799406" cy="123111"/>
          </a:xfrm>
        </p:spPr>
        <p:txBody>
          <a:bodyPr/>
          <a:lstStyle>
            <a:lvl1pPr algn="ctr">
              <a:lnSpc>
                <a:spcPct val="100000"/>
              </a:lnSpc>
              <a:defRPr sz="800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00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00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00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1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9769" y="4519987"/>
            <a:ext cx="8278812" cy="126573"/>
          </a:xfrm>
          <a:prstGeom prst="rect">
            <a:avLst/>
          </a:prstGeom>
        </p:spPr>
        <p:txBody>
          <a:bodyPr tIns="0"/>
          <a:lstStyle>
            <a:lvl1pPr algn="l">
              <a:defRPr sz="800" b="0" cap="none" spc="4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7031282-75C4-49B7-AC21-C10F20EB8F9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519175" y="2471151"/>
            <a:ext cx="1799406" cy="123111"/>
          </a:xfrm>
        </p:spPr>
        <p:txBody>
          <a:bodyPr/>
          <a:lstStyle>
            <a:lvl1pPr algn="ctr">
              <a:lnSpc>
                <a:spcPct val="100000"/>
              </a:lnSpc>
              <a:defRPr sz="800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00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00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00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7031282-75C4-49B7-AC21-C10F20EB8F9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79175" y="2471151"/>
            <a:ext cx="1799406" cy="123111"/>
          </a:xfrm>
        </p:spPr>
        <p:txBody>
          <a:bodyPr/>
          <a:lstStyle>
            <a:lvl1pPr algn="ctr">
              <a:lnSpc>
                <a:spcPct val="100000"/>
              </a:lnSpc>
              <a:defRPr sz="800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00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00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00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7031282-75C4-49B7-AC21-C10F20EB8F9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839175" y="2471151"/>
            <a:ext cx="1799406" cy="123111"/>
          </a:xfrm>
        </p:spPr>
        <p:txBody>
          <a:bodyPr/>
          <a:lstStyle>
            <a:lvl1pPr algn="ctr">
              <a:lnSpc>
                <a:spcPct val="100000"/>
              </a:lnSpc>
              <a:defRPr sz="800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00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00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00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7031282-75C4-49B7-AC21-C10F20EB8F9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9175" y="4091150"/>
            <a:ext cx="1799406" cy="123111"/>
          </a:xfrm>
        </p:spPr>
        <p:txBody>
          <a:bodyPr/>
          <a:lstStyle>
            <a:lvl1pPr algn="ctr">
              <a:lnSpc>
                <a:spcPct val="100000"/>
              </a:lnSpc>
              <a:defRPr sz="800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00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00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00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7031282-75C4-49B7-AC21-C10F20EB8F9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519175" y="4091150"/>
            <a:ext cx="1799406" cy="123111"/>
          </a:xfrm>
        </p:spPr>
        <p:txBody>
          <a:bodyPr/>
          <a:lstStyle>
            <a:lvl1pPr algn="ctr">
              <a:lnSpc>
                <a:spcPct val="100000"/>
              </a:lnSpc>
              <a:defRPr sz="800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00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00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00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D7031282-75C4-49B7-AC21-C10F20EB8F9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679175" y="4091150"/>
            <a:ext cx="1799406" cy="123111"/>
          </a:xfrm>
        </p:spPr>
        <p:txBody>
          <a:bodyPr/>
          <a:lstStyle>
            <a:lvl1pPr algn="ctr">
              <a:lnSpc>
                <a:spcPct val="100000"/>
              </a:lnSpc>
              <a:defRPr sz="800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00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00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00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031282-75C4-49B7-AC21-C10F20EB8F9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839175" y="4091150"/>
            <a:ext cx="1799406" cy="123111"/>
          </a:xfrm>
        </p:spPr>
        <p:txBody>
          <a:bodyPr/>
          <a:lstStyle>
            <a:lvl1pPr algn="ctr">
              <a:lnSpc>
                <a:spcPct val="100000"/>
              </a:lnSpc>
              <a:defRPr sz="800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00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00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00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0" name="Tijdelijke aanduiding voor dianummer 3">
            <a:extLst>
              <a:ext uri="{FF2B5EF4-FFF2-40B4-BE49-F238E27FC236}">
                <a16:creationId xmlns:a16="http://schemas.microsoft.com/office/drawing/2014/main" id="{E8D01B59-9726-4CB4-815F-60D7C4BBEB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73688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e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3C4E49-9CEB-4CB5-8F05-509E44A344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Fe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6A95F1-866F-4D55-8E29-EC2E10FBA1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955" y="1287003"/>
            <a:ext cx="8278811" cy="153888"/>
          </a:xfrm>
        </p:spPr>
        <p:txBody>
          <a:bodyPr/>
          <a:lstStyle>
            <a:lvl1pPr>
              <a:lnSpc>
                <a:spcPct val="100000"/>
              </a:lnSpc>
              <a:defRPr sz="1000" b="0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lnSpc>
                <a:spcPct val="150000"/>
              </a:lnSpc>
              <a:defRPr sz="1050">
                <a:solidFill>
                  <a:schemeClr val="bg2"/>
                </a:solidFill>
              </a:defRPr>
            </a:lvl2pPr>
            <a:lvl3pPr>
              <a:lnSpc>
                <a:spcPct val="150000"/>
              </a:lnSpc>
              <a:defRPr sz="1050">
                <a:solidFill>
                  <a:schemeClr val="bg2"/>
                </a:solidFill>
              </a:defRPr>
            </a:lvl3pPr>
            <a:lvl4pPr>
              <a:lnSpc>
                <a:spcPct val="150000"/>
              </a:lnSpc>
              <a:defRPr sz="1050">
                <a:solidFill>
                  <a:schemeClr val="bg2"/>
                </a:solidFill>
                <a:latin typeface="+mn-lt"/>
              </a:defRPr>
            </a:lvl4pPr>
            <a:lvl5pPr>
              <a:lnSpc>
                <a:spcPct val="150000"/>
              </a:lnSpc>
              <a:defRPr sz="105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5" name="Tijdelijke aanduiding voor tabel 4">
            <a:extLst>
              <a:ext uri="{FF2B5EF4-FFF2-40B4-BE49-F238E27FC236}">
                <a16:creationId xmlns:a16="http://schemas.microsoft.com/office/drawing/2014/main" id="{C00D8AC2-32C2-460F-9038-2BC364B00C7B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59956" y="1739899"/>
            <a:ext cx="3959406" cy="2447553"/>
          </a:xfrm>
        </p:spPr>
        <p:txBody>
          <a:bodyPr numCol="2" anchor="ctr">
            <a:noAutofit/>
          </a:bodyPr>
          <a:lstStyle>
            <a:lvl1pPr>
              <a:lnSpc>
                <a:spcPct val="150000"/>
              </a:lnSpc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tabel wilt toevoegen</a:t>
            </a:r>
            <a:endParaRPr lang="nl-NL" dirty="0"/>
          </a:p>
        </p:txBody>
      </p:sp>
      <p:sp>
        <p:nvSpPr>
          <p:cNvPr id="7" name="Tijdelijke aanduiding voor tekst 10">
            <a:extLst>
              <a:ext uri="{FF2B5EF4-FFF2-40B4-BE49-F238E27FC236}">
                <a16:creationId xmlns:a16="http://schemas.microsoft.com/office/drawing/2014/main" id="{1DB7A7C1-B588-4FB2-BD65-017691530CD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9769" y="4519987"/>
            <a:ext cx="8278812" cy="126573"/>
          </a:xfrm>
          <a:prstGeom prst="rect">
            <a:avLst/>
          </a:prstGeom>
        </p:spPr>
        <p:txBody>
          <a:bodyPr tIns="0"/>
          <a:lstStyle>
            <a:lvl1pPr algn="l">
              <a:defRPr sz="800" b="0" cap="none" spc="4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6" name="Tijdelijke aanduiding voor dianummer 3">
            <a:extLst>
              <a:ext uri="{FF2B5EF4-FFF2-40B4-BE49-F238E27FC236}">
                <a16:creationId xmlns:a16="http://schemas.microsoft.com/office/drawing/2014/main" id="{A6ACA41C-06C5-43E7-A129-3FF359EDCF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217552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305" y="731069"/>
            <a:ext cx="3599406" cy="2484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Agenda titel bewerken</a:t>
            </a:r>
            <a:endParaRPr lang="en-GB" dirty="0"/>
          </a:p>
        </p:txBody>
      </p:sp>
      <p:sp>
        <p:nvSpPr>
          <p:cNvPr id="3" name="Tijdelijke aanduiding voor dianummer 3">
            <a:extLst>
              <a:ext uri="{FF2B5EF4-FFF2-40B4-BE49-F238E27FC236}">
                <a16:creationId xmlns:a16="http://schemas.microsoft.com/office/drawing/2014/main" id="{4C009559-196D-4835-B687-DD8C34C437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411639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10">
            <a:extLst>
              <a:ext uri="{FF2B5EF4-FFF2-40B4-BE49-F238E27FC236}">
                <a16:creationId xmlns:a16="http://schemas.microsoft.com/office/drawing/2014/main" id="{D9E6554F-DB42-4D25-A442-152D4C3F47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363" y="4567848"/>
            <a:ext cx="8278812" cy="180681"/>
          </a:xfrm>
          <a:prstGeom prst="rect">
            <a:avLst/>
          </a:prstGeom>
        </p:spPr>
        <p:txBody>
          <a:bodyPr tIns="0"/>
          <a:lstStyle>
            <a:lvl1pPr marL="0" indent="0" algn="ctr">
              <a:lnSpc>
                <a:spcPct val="150000"/>
              </a:lnSpc>
              <a:buClr>
                <a:schemeClr val="tx2"/>
              </a:buClr>
              <a:buFont typeface="Arial" panose="020B0604020202020204" pitchFamily="34" charset="0"/>
              <a:buNone/>
              <a:defRPr lang="nl-NL" sz="800" b="0" kern="1200" cap="none" spc="47" baseline="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nl-NL" dirty="0"/>
              <a:t>Datum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3" y="3796303"/>
            <a:ext cx="8278812" cy="221599"/>
          </a:xfrm>
        </p:spPr>
        <p:txBody>
          <a:bodyPr anchor="t" anchorCtr="0"/>
          <a:lstStyle>
            <a:lvl1pPr marL="0" indent="0" algn="ctr">
              <a:buClr>
                <a:schemeClr val="tx2"/>
              </a:buClr>
              <a:buFont typeface="Arial" panose="020B0604020202020204" pitchFamily="34" charset="0"/>
              <a:buNone/>
              <a:defRPr sz="1600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nl-NL" dirty="0"/>
              <a:t>Titel presentatie</a:t>
            </a:r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E95E579-9790-4F95-8FB3-3D158C32A7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912784"/>
            <a:ext cx="8999538" cy="2517803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 b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p het pictogram als u een afbeelding wilt toevoegen</a:t>
            </a:r>
            <a:endParaRPr lang="en-GB" dirty="0"/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C9067BEA-B125-4BBA-9BFB-4B8A99D273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957" y="4115445"/>
            <a:ext cx="8278812" cy="180681"/>
          </a:xfrm>
          <a:prstGeom prst="rect">
            <a:avLst/>
          </a:prstGeom>
        </p:spPr>
        <p:txBody>
          <a:bodyPr tIns="0"/>
          <a:lstStyle>
            <a:lvl1pPr marL="0" indent="0" algn="ctr">
              <a:buClr>
                <a:schemeClr val="tx2"/>
              </a:buClr>
              <a:buFont typeface="Arial" panose="020B0604020202020204" pitchFamily="34" charset="0"/>
              <a:buNone/>
              <a:defRPr sz="1200" b="0" cap="none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412BC8B0-2FC2-4D70-961B-56CEF978ABDD}"/>
              </a:ext>
            </a:extLst>
          </p:cNvPr>
          <p:cNvSpPr/>
          <p:nvPr/>
        </p:nvSpPr>
        <p:spPr>
          <a:xfrm>
            <a:off x="3817597" y="389479"/>
            <a:ext cx="1364345" cy="162720"/>
          </a:xfrm>
          <a:custGeom>
            <a:avLst/>
            <a:gdLst>
              <a:gd name="connsiteX0" fmla="*/ 57578 w 1364344"/>
              <a:gd name="connsiteY0" fmla="*/ 3755 h 162719"/>
              <a:gd name="connsiteX1" fmla="*/ 100135 w 1364344"/>
              <a:gd name="connsiteY1" fmla="*/ 42557 h 162719"/>
              <a:gd name="connsiteX2" fmla="*/ 57578 w 1364344"/>
              <a:gd name="connsiteY2" fmla="*/ 82612 h 162719"/>
              <a:gd name="connsiteX3" fmla="*/ 23782 w 1364344"/>
              <a:gd name="connsiteY3" fmla="*/ 82612 h 162719"/>
              <a:gd name="connsiteX4" fmla="*/ 23782 w 1364344"/>
              <a:gd name="connsiteY4" fmla="*/ 135183 h 162719"/>
              <a:gd name="connsiteX5" fmla="*/ 0 w 1364344"/>
              <a:gd name="connsiteY5" fmla="*/ 135183 h 162719"/>
              <a:gd name="connsiteX6" fmla="*/ 0 w 1364344"/>
              <a:gd name="connsiteY6" fmla="*/ 3755 h 162719"/>
              <a:gd name="connsiteX7" fmla="*/ 57578 w 1364344"/>
              <a:gd name="connsiteY7" fmla="*/ 3755 h 162719"/>
              <a:gd name="connsiteX8" fmla="*/ 56326 w 1364344"/>
              <a:gd name="connsiteY8" fmla="*/ 61333 h 162719"/>
              <a:gd name="connsiteX9" fmla="*/ 73850 w 1364344"/>
              <a:gd name="connsiteY9" fmla="*/ 43809 h 162719"/>
              <a:gd name="connsiteX10" fmla="*/ 56326 w 1364344"/>
              <a:gd name="connsiteY10" fmla="*/ 26285 h 162719"/>
              <a:gd name="connsiteX11" fmla="*/ 23782 w 1364344"/>
              <a:gd name="connsiteY11" fmla="*/ 26285 h 162719"/>
              <a:gd name="connsiteX12" fmla="*/ 23782 w 1364344"/>
              <a:gd name="connsiteY12" fmla="*/ 61333 h 162719"/>
              <a:gd name="connsiteX13" fmla="*/ 56326 w 1364344"/>
              <a:gd name="connsiteY13" fmla="*/ 61333 h 162719"/>
              <a:gd name="connsiteX14" fmla="*/ 215291 w 1364344"/>
              <a:gd name="connsiteY14" fmla="*/ 112652 h 162719"/>
              <a:gd name="connsiteX15" fmla="*/ 215291 w 1364344"/>
              <a:gd name="connsiteY15" fmla="*/ 135183 h 162719"/>
              <a:gd name="connsiteX16" fmla="*/ 131428 w 1364344"/>
              <a:gd name="connsiteY16" fmla="*/ 135183 h 162719"/>
              <a:gd name="connsiteX17" fmla="*/ 131428 w 1364344"/>
              <a:gd name="connsiteY17" fmla="*/ 3755 h 162719"/>
              <a:gd name="connsiteX18" fmla="*/ 215291 w 1364344"/>
              <a:gd name="connsiteY18" fmla="*/ 3755 h 162719"/>
              <a:gd name="connsiteX19" fmla="*/ 215291 w 1364344"/>
              <a:gd name="connsiteY19" fmla="*/ 25034 h 162719"/>
              <a:gd name="connsiteX20" fmla="*/ 156462 w 1364344"/>
              <a:gd name="connsiteY20" fmla="*/ 25034 h 162719"/>
              <a:gd name="connsiteX21" fmla="*/ 156462 w 1364344"/>
              <a:gd name="connsiteY21" fmla="*/ 57578 h 162719"/>
              <a:gd name="connsiteX22" fmla="*/ 204026 w 1364344"/>
              <a:gd name="connsiteY22" fmla="*/ 57578 h 162719"/>
              <a:gd name="connsiteX23" fmla="*/ 204026 w 1364344"/>
              <a:gd name="connsiteY23" fmla="*/ 78856 h 162719"/>
              <a:gd name="connsiteX24" fmla="*/ 156462 w 1364344"/>
              <a:gd name="connsiteY24" fmla="*/ 78856 h 162719"/>
              <a:gd name="connsiteX25" fmla="*/ 156462 w 1364344"/>
              <a:gd name="connsiteY25" fmla="*/ 112652 h 162719"/>
              <a:gd name="connsiteX26" fmla="*/ 215291 w 1364344"/>
              <a:gd name="connsiteY26" fmla="*/ 112652 h 162719"/>
              <a:gd name="connsiteX27" fmla="*/ 282882 w 1364344"/>
              <a:gd name="connsiteY27" fmla="*/ 112652 h 162719"/>
              <a:gd name="connsiteX28" fmla="*/ 336705 w 1364344"/>
              <a:gd name="connsiteY28" fmla="*/ 112652 h 162719"/>
              <a:gd name="connsiteX29" fmla="*/ 336705 w 1364344"/>
              <a:gd name="connsiteY29" fmla="*/ 135183 h 162719"/>
              <a:gd name="connsiteX30" fmla="*/ 259100 w 1364344"/>
              <a:gd name="connsiteY30" fmla="*/ 135183 h 162719"/>
              <a:gd name="connsiteX31" fmla="*/ 259100 w 1364344"/>
              <a:gd name="connsiteY31" fmla="*/ 3755 h 162719"/>
              <a:gd name="connsiteX32" fmla="*/ 282882 w 1364344"/>
              <a:gd name="connsiteY32" fmla="*/ 3755 h 162719"/>
              <a:gd name="connsiteX33" fmla="*/ 282882 w 1364344"/>
              <a:gd name="connsiteY33" fmla="*/ 112652 h 162719"/>
              <a:gd name="connsiteX34" fmla="*/ 404297 w 1364344"/>
              <a:gd name="connsiteY34" fmla="*/ 137686 h 162719"/>
              <a:gd name="connsiteX35" fmla="*/ 357984 w 1364344"/>
              <a:gd name="connsiteY35" fmla="*/ 101387 h 162719"/>
              <a:gd name="connsiteX36" fmla="*/ 381766 w 1364344"/>
              <a:gd name="connsiteY36" fmla="*/ 95128 h 162719"/>
              <a:gd name="connsiteX37" fmla="*/ 405548 w 1364344"/>
              <a:gd name="connsiteY37" fmla="*/ 115155 h 162719"/>
              <a:gd name="connsiteX38" fmla="*/ 424324 w 1364344"/>
              <a:gd name="connsiteY38" fmla="*/ 100135 h 162719"/>
              <a:gd name="connsiteX39" fmla="*/ 401793 w 1364344"/>
              <a:gd name="connsiteY39" fmla="*/ 80108 h 162719"/>
              <a:gd name="connsiteX40" fmla="*/ 362991 w 1364344"/>
              <a:gd name="connsiteY40" fmla="*/ 40054 h 162719"/>
              <a:gd name="connsiteX41" fmla="*/ 403045 w 1364344"/>
              <a:gd name="connsiteY41" fmla="*/ 1252 h 162719"/>
              <a:gd name="connsiteX42" fmla="*/ 443099 w 1364344"/>
              <a:gd name="connsiteY42" fmla="*/ 26285 h 162719"/>
              <a:gd name="connsiteX43" fmla="*/ 421820 w 1364344"/>
              <a:gd name="connsiteY43" fmla="*/ 36299 h 162719"/>
              <a:gd name="connsiteX44" fmla="*/ 404297 w 1364344"/>
              <a:gd name="connsiteY44" fmla="*/ 23782 h 162719"/>
              <a:gd name="connsiteX45" fmla="*/ 388025 w 1364344"/>
              <a:gd name="connsiteY45" fmla="*/ 38802 h 162719"/>
              <a:gd name="connsiteX46" fmla="*/ 409303 w 1364344"/>
              <a:gd name="connsiteY46" fmla="*/ 58829 h 162719"/>
              <a:gd name="connsiteX47" fmla="*/ 448106 w 1364344"/>
              <a:gd name="connsiteY47" fmla="*/ 98884 h 162719"/>
              <a:gd name="connsiteX48" fmla="*/ 404297 w 1364344"/>
              <a:gd name="connsiteY48" fmla="*/ 137686 h 162719"/>
              <a:gd name="connsiteX49" fmla="*/ 628350 w 1364344"/>
              <a:gd name="connsiteY49" fmla="*/ 135183 h 162719"/>
              <a:gd name="connsiteX50" fmla="*/ 597057 w 1364344"/>
              <a:gd name="connsiteY50" fmla="*/ 82612 h 162719"/>
              <a:gd name="connsiteX51" fmla="*/ 573275 w 1364344"/>
              <a:gd name="connsiteY51" fmla="*/ 82612 h 162719"/>
              <a:gd name="connsiteX52" fmla="*/ 573275 w 1364344"/>
              <a:gd name="connsiteY52" fmla="*/ 135183 h 162719"/>
              <a:gd name="connsiteX53" fmla="*/ 549493 w 1364344"/>
              <a:gd name="connsiteY53" fmla="*/ 135183 h 162719"/>
              <a:gd name="connsiteX54" fmla="*/ 549493 w 1364344"/>
              <a:gd name="connsiteY54" fmla="*/ 3755 h 162719"/>
              <a:gd name="connsiteX55" fmla="*/ 607071 w 1364344"/>
              <a:gd name="connsiteY55" fmla="*/ 3755 h 162719"/>
              <a:gd name="connsiteX56" fmla="*/ 648377 w 1364344"/>
              <a:gd name="connsiteY56" fmla="*/ 41306 h 162719"/>
              <a:gd name="connsiteX57" fmla="*/ 620839 w 1364344"/>
              <a:gd name="connsiteY57" fmla="*/ 76353 h 162719"/>
              <a:gd name="connsiteX58" fmla="*/ 657138 w 1364344"/>
              <a:gd name="connsiteY58" fmla="*/ 135183 h 162719"/>
              <a:gd name="connsiteX59" fmla="*/ 628350 w 1364344"/>
              <a:gd name="connsiteY59" fmla="*/ 135183 h 162719"/>
              <a:gd name="connsiteX60" fmla="*/ 622091 w 1364344"/>
              <a:gd name="connsiteY60" fmla="*/ 42557 h 162719"/>
              <a:gd name="connsiteX61" fmla="*/ 603316 w 1364344"/>
              <a:gd name="connsiteY61" fmla="*/ 26285 h 162719"/>
              <a:gd name="connsiteX62" fmla="*/ 573275 w 1364344"/>
              <a:gd name="connsiteY62" fmla="*/ 26285 h 162719"/>
              <a:gd name="connsiteX63" fmla="*/ 573275 w 1364344"/>
              <a:gd name="connsiteY63" fmla="*/ 61333 h 162719"/>
              <a:gd name="connsiteX64" fmla="*/ 602064 w 1364344"/>
              <a:gd name="connsiteY64" fmla="*/ 61333 h 162719"/>
              <a:gd name="connsiteX65" fmla="*/ 622091 w 1364344"/>
              <a:gd name="connsiteY65" fmla="*/ 42557 h 162719"/>
              <a:gd name="connsiteX66" fmla="*/ 720975 w 1364344"/>
              <a:gd name="connsiteY66" fmla="*/ 135183 h 162719"/>
              <a:gd name="connsiteX67" fmla="*/ 695941 w 1364344"/>
              <a:gd name="connsiteY67" fmla="*/ 135183 h 162719"/>
              <a:gd name="connsiteX68" fmla="*/ 695941 w 1364344"/>
              <a:gd name="connsiteY68" fmla="*/ 3755 h 162719"/>
              <a:gd name="connsiteX69" fmla="*/ 720975 w 1364344"/>
              <a:gd name="connsiteY69" fmla="*/ 3755 h 162719"/>
              <a:gd name="connsiteX70" fmla="*/ 720975 w 1364344"/>
              <a:gd name="connsiteY70" fmla="*/ 135183 h 162719"/>
              <a:gd name="connsiteX71" fmla="*/ 794825 w 1364344"/>
              <a:gd name="connsiteY71" fmla="*/ 168978 h 162719"/>
              <a:gd name="connsiteX72" fmla="*/ 769791 w 1364344"/>
              <a:gd name="connsiteY72" fmla="*/ 168978 h 162719"/>
              <a:gd name="connsiteX73" fmla="*/ 769791 w 1364344"/>
              <a:gd name="connsiteY73" fmla="*/ 37551 h 162719"/>
              <a:gd name="connsiteX74" fmla="*/ 794825 w 1364344"/>
              <a:gd name="connsiteY74" fmla="*/ 37551 h 162719"/>
              <a:gd name="connsiteX75" fmla="*/ 794825 w 1364344"/>
              <a:gd name="connsiteY75" fmla="*/ 168978 h 162719"/>
              <a:gd name="connsiteX76" fmla="*/ 897463 w 1364344"/>
              <a:gd name="connsiteY76" fmla="*/ 137686 h 162719"/>
              <a:gd name="connsiteX77" fmla="*/ 836131 w 1364344"/>
              <a:gd name="connsiteY77" fmla="*/ 68843 h 162719"/>
              <a:gd name="connsiteX78" fmla="*/ 897463 w 1364344"/>
              <a:gd name="connsiteY78" fmla="*/ 0 h 162719"/>
              <a:gd name="connsiteX79" fmla="*/ 948783 w 1364344"/>
              <a:gd name="connsiteY79" fmla="*/ 36299 h 162719"/>
              <a:gd name="connsiteX80" fmla="*/ 926252 w 1364344"/>
              <a:gd name="connsiteY80" fmla="*/ 45061 h 162719"/>
              <a:gd name="connsiteX81" fmla="*/ 897463 w 1364344"/>
              <a:gd name="connsiteY81" fmla="*/ 23782 h 162719"/>
              <a:gd name="connsiteX82" fmla="*/ 861164 w 1364344"/>
              <a:gd name="connsiteY82" fmla="*/ 68843 h 162719"/>
              <a:gd name="connsiteX83" fmla="*/ 897463 w 1364344"/>
              <a:gd name="connsiteY83" fmla="*/ 113904 h 162719"/>
              <a:gd name="connsiteX84" fmla="*/ 932511 w 1364344"/>
              <a:gd name="connsiteY84" fmla="*/ 87618 h 162719"/>
              <a:gd name="connsiteX85" fmla="*/ 953790 w 1364344"/>
              <a:gd name="connsiteY85" fmla="*/ 98884 h 162719"/>
              <a:gd name="connsiteX86" fmla="*/ 897463 w 1364344"/>
              <a:gd name="connsiteY86" fmla="*/ 137686 h 162719"/>
              <a:gd name="connsiteX87" fmla="*/ 1048918 w 1364344"/>
              <a:gd name="connsiteY87" fmla="*/ 53823 h 162719"/>
              <a:gd name="connsiteX88" fmla="*/ 1100238 w 1364344"/>
              <a:gd name="connsiteY88" fmla="*/ 135183 h 162719"/>
              <a:gd name="connsiteX89" fmla="*/ 1068945 w 1364344"/>
              <a:gd name="connsiteY89" fmla="*/ 135183 h 162719"/>
              <a:gd name="connsiteX90" fmla="*/ 1028891 w 1364344"/>
              <a:gd name="connsiteY90" fmla="*/ 71346 h 162719"/>
              <a:gd name="connsiteX91" fmla="*/ 1013871 w 1364344"/>
              <a:gd name="connsiteY91" fmla="*/ 86367 h 162719"/>
              <a:gd name="connsiteX92" fmla="*/ 1013871 w 1364344"/>
              <a:gd name="connsiteY92" fmla="*/ 135183 h 162719"/>
              <a:gd name="connsiteX93" fmla="*/ 990089 w 1364344"/>
              <a:gd name="connsiteY93" fmla="*/ 135183 h 162719"/>
              <a:gd name="connsiteX94" fmla="*/ 990089 w 1364344"/>
              <a:gd name="connsiteY94" fmla="*/ 3755 h 162719"/>
              <a:gd name="connsiteX95" fmla="*/ 1013871 w 1364344"/>
              <a:gd name="connsiteY95" fmla="*/ 3755 h 162719"/>
              <a:gd name="connsiteX96" fmla="*/ 1013871 w 1364344"/>
              <a:gd name="connsiteY96" fmla="*/ 56326 h 162719"/>
              <a:gd name="connsiteX97" fmla="*/ 1067694 w 1364344"/>
              <a:gd name="connsiteY97" fmla="*/ 3755 h 162719"/>
              <a:gd name="connsiteX98" fmla="*/ 1102741 w 1364344"/>
              <a:gd name="connsiteY98" fmla="*/ 3755 h 162719"/>
              <a:gd name="connsiteX99" fmla="*/ 1048918 w 1364344"/>
              <a:gd name="connsiteY99" fmla="*/ 53823 h 162719"/>
              <a:gd name="connsiteX100" fmla="*/ 1219148 w 1364344"/>
              <a:gd name="connsiteY100" fmla="*/ 112652 h 162719"/>
              <a:gd name="connsiteX101" fmla="*/ 1219148 w 1364344"/>
              <a:gd name="connsiteY101" fmla="*/ 135183 h 162719"/>
              <a:gd name="connsiteX102" fmla="*/ 1135285 w 1364344"/>
              <a:gd name="connsiteY102" fmla="*/ 135183 h 162719"/>
              <a:gd name="connsiteX103" fmla="*/ 1135285 w 1364344"/>
              <a:gd name="connsiteY103" fmla="*/ 3755 h 162719"/>
              <a:gd name="connsiteX104" fmla="*/ 1219148 w 1364344"/>
              <a:gd name="connsiteY104" fmla="*/ 3755 h 162719"/>
              <a:gd name="connsiteX105" fmla="*/ 1219148 w 1364344"/>
              <a:gd name="connsiteY105" fmla="*/ 25034 h 162719"/>
              <a:gd name="connsiteX106" fmla="*/ 1160319 w 1364344"/>
              <a:gd name="connsiteY106" fmla="*/ 25034 h 162719"/>
              <a:gd name="connsiteX107" fmla="*/ 1160319 w 1364344"/>
              <a:gd name="connsiteY107" fmla="*/ 57578 h 162719"/>
              <a:gd name="connsiteX108" fmla="*/ 1207883 w 1364344"/>
              <a:gd name="connsiteY108" fmla="*/ 57578 h 162719"/>
              <a:gd name="connsiteX109" fmla="*/ 1207883 w 1364344"/>
              <a:gd name="connsiteY109" fmla="*/ 78856 h 162719"/>
              <a:gd name="connsiteX110" fmla="*/ 1160319 w 1364344"/>
              <a:gd name="connsiteY110" fmla="*/ 78856 h 162719"/>
              <a:gd name="connsiteX111" fmla="*/ 1160319 w 1364344"/>
              <a:gd name="connsiteY111" fmla="*/ 112652 h 162719"/>
              <a:gd name="connsiteX112" fmla="*/ 1219148 w 1364344"/>
              <a:gd name="connsiteY112" fmla="*/ 112652 h 162719"/>
              <a:gd name="connsiteX113" fmla="*/ 1262958 w 1364344"/>
              <a:gd name="connsiteY113" fmla="*/ 135183 h 162719"/>
              <a:gd name="connsiteX114" fmla="*/ 1262958 w 1364344"/>
              <a:gd name="connsiteY114" fmla="*/ 3755 h 162719"/>
              <a:gd name="connsiteX115" fmla="*/ 1285488 w 1364344"/>
              <a:gd name="connsiteY115" fmla="*/ 3755 h 162719"/>
              <a:gd name="connsiteX116" fmla="*/ 1343066 w 1364344"/>
              <a:gd name="connsiteY116" fmla="*/ 86367 h 162719"/>
              <a:gd name="connsiteX117" fmla="*/ 1343066 w 1364344"/>
              <a:gd name="connsiteY117" fmla="*/ 3755 h 162719"/>
              <a:gd name="connsiteX118" fmla="*/ 1368100 w 1364344"/>
              <a:gd name="connsiteY118" fmla="*/ 3755 h 162719"/>
              <a:gd name="connsiteX119" fmla="*/ 1368100 w 1364344"/>
              <a:gd name="connsiteY119" fmla="*/ 135183 h 162719"/>
              <a:gd name="connsiteX120" fmla="*/ 1345569 w 1364344"/>
              <a:gd name="connsiteY120" fmla="*/ 135183 h 162719"/>
              <a:gd name="connsiteX121" fmla="*/ 1287991 w 1364344"/>
              <a:gd name="connsiteY121" fmla="*/ 52571 h 162719"/>
              <a:gd name="connsiteX122" fmla="*/ 1287991 w 1364344"/>
              <a:gd name="connsiteY122" fmla="*/ 135183 h 162719"/>
              <a:gd name="connsiteX123" fmla="*/ 1262958 w 1364344"/>
              <a:gd name="connsiteY123" fmla="*/ 135183 h 16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364344" h="162719">
                <a:moveTo>
                  <a:pt x="57578" y="3755"/>
                </a:moveTo>
                <a:cubicBezTo>
                  <a:pt x="85115" y="3755"/>
                  <a:pt x="100135" y="23782"/>
                  <a:pt x="100135" y="42557"/>
                </a:cubicBezTo>
                <a:cubicBezTo>
                  <a:pt x="100135" y="62585"/>
                  <a:pt x="86367" y="82612"/>
                  <a:pt x="57578" y="82612"/>
                </a:cubicBezTo>
                <a:lnTo>
                  <a:pt x="23782" y="82612"/>
                </a:lnTo>
                <a:lnTo>
                  <a:pt x="23782" y="135183"/>
                </a:lnTo>
                <a:lnTo>
                  <a:pt x="0" y="135183"/>
                </a:lnTo>
                <a:lnTo>
                  <a:pt x="0" y="3755"/>
                </a:lnTo>
                <a:lnTo>
                  <a:pt x="57578" y="3755"/>
                </a:lnTo>
                <a:close/>
                <a:moveTo>
                  <a:pt x="56326" y="61333"/>
                </a:moveTo>
                <a:cubicBezTo>
                  <a:pt x="68843" y="61333"/>
                  <a:pt x="73850" y="52571"/>
                  <a:pt x="73850" y="43809"/>
                </a:cubicBezTo>
                <a:cubicBezTo>
                  <a:pt x="73850" y="35047"/>
                  <a:pt x="67591" y="26285"/>
                  <a:pt x="56326" y="26285"/>
                </a:cubicBezTo>
                <a:lnTo>
                  <a:pt x="23782" y="26285"/>
                </a:lnTo>
                <a:lnTo>
                  <a:pt x="23782" y="61333"/>
                </a:lnTo>
                <a:lnTo>
                  <a:pt x="56326" y="61333"/>
                </a:lnTo>
                <a:close/>
                <a:moveTo>
                  <a:pt x="215291" y="112652"/>
                </a:moveTo>
                <a:lnTo>
                  <a:pt x="215291" y="135183"/>
                </a:lnTo>
                <a:lnTo>
                  <a:pt x="131428" y="135183"/>
                </a:lnTo>
                <a:lnTo>
                  <a:pt x="131428" y="3755"/>
                </a:lnTo>
                <a:lnTo>
                  <a:pt x="215291" y="3755"/>
                </a:lnTo>
                <a:lnTo>
                  <a:pt x="215291" y="25034"/>
                </a:lnTo>
                <a:lnTo>
                  <a:pt x="156462" y="25034"/>
                </a:lnTo>
                <a:lnTo>
                  <a:pt x="156462" y="57578"/>
                </a:lnTo>
                <a:lnTo>
                  <a:pt x="204026" y="57578"/>
                </a:lnTo>
                <a:lnTo>
                  <a:pt x="204026" y="78856"/>
                </a:lnTo>
                <a:lnTo>
                  <a:pt x="156462" y="78856"/>
                </a:lnTo>
                <a:lnTo>
                  <a:pt x="156462" y="112652"/>
                </a:lnTo>
                <a:lnTo>
                  <a:pt x="215291" y="112652"/>
                </a:lnTo>
                <a:close/>
                <a:moveTo>
                  <a:pt x="282882" y="112652"/>
                </a:moveTo>
                <a:lnTo>
                  <a:pt x="336705" y="112652"/>
                </a:lnTo>
                <a:lnTo>
                  <a:pt x="336705" y="135183"/>
                </a:lnTo>
                <a:lnTo>
                  <a:pt x="259100" y="135183"/>
                </a:lnTo>
                <a:lnTo>
                  <a:pt x="259100" y="3755"/>
                </a:lnTo>
                <a:lnTo>
                  <a:pt x="282882" y="3755"/>
                </a:lnTo>
                <a:lnTo>
                  <a:pt x="282882" y="112652"/>
                </a:lnTo>
                <a:close/>
                <a:moveTo>
                  <a:pt x="404297" y="137686"/>
                </a:moveTo>
                <a:cubicBezTo>
                  <a:pt x="383018" y="137686"/>
                  <a:pt x="361739" y="125169"/>
                  <a:pt x="357984" y="101387"/>
                </a:cubicBezTo>
                <a:lnTo>
                  <a:pt x="381766" y="95128"/>
                </a:lnTo>
                <a:cubicBezTo>
                  <a:pt x="383018" y="108897"/>
                  <a:pt x="394283" y="115155"/>
                  <a:pt x="405548" y="115155"/>
                </a:cubicBezTo>
                <a:cubicBezTo>
                  <a:pt x="415562" y="115155"/>
                  <a:pt x="424324" y="110149"/>
                  <a:pt x="424324" y="100135"/>
                </a:cubicBezTo>
                <a:cubicBezTo>
                  <a:pt x="424324" y="88870"/>
                  <a:pt x="414310" y="85115"/>
                  <a:pt x="401793" y="80108"/>
                </a:cubicBezTo>
                <a:cubicBezTo>
                  <a:pt x="384270" y="73850"/>
                  <a:pt x="362991" y="66340"/>
                  <a:pt x="362991" y="40054"/>
                </a:cubicBezTo>
                <a:cubicBezTo>
                  <a:pt x="362991" y="13769"/>
                  <a:pt x="383018" y="1252"/>
                  <a:pt x="403045" y="1252"/>
                </a:cubicBezTo>
                <a:cubicBezTo>
                  <a:pt x="419317" y="1252"/>
                  <a:pt x="436841" y="8762"/>
                  <a:pt x="443099" y="26285"/>
                </a:cubicBezTo>
                <a:lnTo>
                  <a:pt x="421820" y="36299"/>
                </a:lnTo>
                <a:cubicBezTo>
                  <a:pt x="419317" y="27537"/>
                  <a:pt x="410555" y="23782"/>
                  <a:pt x="404297" y="23782"/>
                </a:cubicBezTo>
                <a:cubicBezTo>
                  <a:pt x="395535" y="23782"/>
                  <a:pt x="388025" y="28789"/>
                  <a:pt x="388025" y="38802"/>
                </a:cubicBezTo>
                <a:cubicBezTo>
                  <a:pt x="388025" y="48816"/>
                  <a:pt x="398038" y="53823"/>
                  <a:pt x="409303" y="58829"/>
                </a:cubicBezTo>
                <a:cubicBezTo>
                  <a:pt x="426827" y="65088"/>
                  <a:pt x="448106" y="71346"/>
                  <a:pt x="448106" y="98884"/>
                </a:cubicBezTo>
                <a:cubicBezTo>
                  <a:pt x="448106" y="123917"/>
                  <a:pt x="425575" y="137686"/>
                  <a:pt x="404297" y="137686"/>
                </a:cubicBezTo>
                <a:close/>
                <a:moveTo>
                  <a:pt x="628350" y="135183"/>
                </a:moveTo>
                <a:lnTo>
                  <a:pt x="597057" y="82612"/>
                </a:lnTo>
                <a:lnTo>
                  <a:pt x="573275" y="82612"/>
                </a:lnTo>
                <a:lnTo>
                  <a:pt x="573275" y="135183"/>
                </a:lnTo>
                <a:lnTo>
                  <a:pt x="549493" y="135183"/>
                </a:lnTo>
                <a:lnTo>
                  <a:pt x="549493" y="3755"/>
                </a:lnTo>
                <a:lnTo>
                  <a:pt x="607071" y="3755"/>
                </a:lnTo>
                <a:cubicBezTo>
                  <a:pt x="634608" y="3755"/>
                  <a:pt x="648377" y="22530"/>
                  <a:pt x="648377" y="41306"/>
                </a:cubicBezTo>
                <a:cubicBezTo>
                  <a:pt x="648377" y="56326"/>
                  <a:pt x="638363" y="71346"/>
                  <a:pt x="620839" y="76353"/>
                </a:cubicBezTo>
                <a:lnTo>
                  <a:pt x="657138" y="135183"/>
                </a:lnTo>
                <a:lnTo>
                  <a:pt x="628350" y="135183"/>
                </a:lnTo>
                <a:close/>
                <a:moveTo>
                  <a:pt x="622091" y="42557"/>
                </a:moveTo>
                <a:cubicBezTo>
                  <a:pt x="622091" y="33796"/>
                  <a:pt x="615833" y="26285"/>
                  <a:pt x="603316" y="26285"/>
                </a:cubicBezTo>
                <a:lnTo>
                  <a:pt x="573275" y="26285"/>
                </a:lnTo>
                <a:lnTo>
                  <a:pt x="573275" y="61333"/>
                </a:lnTo>
                <a:lnTo>
                  <a:pt x="602064" y="61333"/>
                </a:lnTo>
                <a:cubicBezTo>
                  <a:pt x="614581" y="61333"/>
                  <a:pt x="622091" y="51319"/>
                  <a:pt x="622091" y="42557"/>
                </a:cubicBezTo>
                <a:close/>
                <a:moveTo>
                  <a:pt x="720975" y="135183"/>
                </a:moveTo>
                <a:lnTo>
                  <a:pt x="695941" y="135183"/>
                </a:lnTo>
                <a:lnTo>
                  <a:pt x="695941" y="3755"/>
                </a:lnTo>
                <a:lnTo>
                  <a:pt x="720975" y="3755"/>
                </a:lnTo>
                <a:lnTo>
                  <a:pt x="720975" y="135183"/>
                </a:lnTo>
                <a:close/>
                <a:moveTo>
                  <a:pt x="794825" y="168978"/>
                </a:moveTo>
                <a:lnTo>
                  <a:pt x="769791" y="168978"/>
                </a:lnTo>
                <a:lnTo>
                  <a:pt x="769791" y="37551"/>
                </a:lnTo>
                <a:lnTo>
                  <a:pt x="794825" y="37551"/>
                </a:lnTo>
                <a:lnTo>
                  <a:pt x="794825" y="168978"/>
                </a:lnTo>
                <a:close/>
                <a:moveTo>
                  <a:pt x="897463" y="137686"/>
                </a:moveTo>
                <a:cubicBezTo>
                  <a:pt x="867423" y="137686"/>
                  <a:pt x="836131" y="115155"/>
                  <a:pt x="836131" y="68843"/>
                </a:cubicBezTo>
                <a:cubicBezTo>
                  <a:pt x="836131" y="22530"/>
                  <a:pt x="867423" y="0"/>
                  <a:pt x="897463" y="0"/>
                </a:cubicBezTo>
                <a:cubicBezTo>
                  <a:pt x="919994" y="0"/>
                  <a:pt x="941273" y="12517"/>
                  <a:pt x="948783" y="36299"/>
                </a:cubicBezTo>
                <a:lnTo>
                  <a:pt x="926252" y="45061"/>
                </a:lnTo>
                <a:cubicBezTo>
                  <a:pt x="922497" y="31292"/>
                  <a:pt x="909980" y="23782"/>
                  <a:pt x="897463" y="23782"/>
                </a:cubicBezTo>
                <a:cubicBezTo>
                  <a:pt x="879940" y="23782"/>
                  <a:pt x="861164" y="37551"/>
                  <a:pt x="861164" y="68843"/>
                </a:cubicBezTo>
                <a:cubicBezTo>
                  <a:pt x="861164" y="98884"/>
                  <a:pt x="878688" y="113904"/>
                  <a:pt x="897463" y="113904"/>
                </a:cubicBezTo>
                <a:cubicBezTo>
                  <a:pt x="912484" y="113904"/>
                  <a:pt x="927504" y="105142"/>
                  <a:pt x="932511" y="87618"/>
                </a:cubicBezTo>
                <a:lnTo>
                  <a:pt x="953790" y="98884"/>
                </a:lnTo>
                <a:cubicBezTo>
                  <a:pt x="945028" y="125169"/>
                  <a:pt x="921246" y="137686"/>
                  <a:pt x="897463" y="137686"/>
                </a:cubicBezTo>
                <a:close/>
                <a:moveTo>
                  <a:pt x="1048918" y="53823"/>
                </a:moveTo>
                <a:lnTo>
                  <a:pt x="1100238" y="135183"/>
                </a:lnTo>
                <a:lnTo>
                  <a:pt x="1068945" y="135183"/>
                </a:lnTo>
                <a:lnTo>
                  <a:pt x="1028891" y="71346"/>
                </a:lnTo>
                <a:lnTo>
                  <a:pt x="1013871" y="86367"/>
                </a:lnTo>
                <a:lnTo>
                  <a:pt x="1013871" y="135183"/>
                </a:lnTo>
                <a:lnTo>
                  <a:pt x="990089" y="135183"/>
                </a:lnTo>
                <a:lnTo>
                  <a:pt x="990089" y="3755"/>
                </a:lnTo>
                <a:lnTo>
                  <a:pt x="1013871" y="3755"/>
                </a:lnTo>
                <a:lnTo>
                  <a:pt x="1013871" y="56326"/>
                </a:lnTo>
                <a:lnTo>
                  <a:pt x="1067694" y="3755"/>
                </a:lnTo>
                <a:lnTo>
                  <a:pt x="1102741" y="3755"/>
                </a:lnTo>
                <a:lnTo>
                  <a:pt x="1048918" y="53823"/>
                </a:lnTo>
                <a:close/>
                <a:moveTo>
                  <a:pt x="1219148" y="112652"/>
                </a:moveTo>
                <a:lnTo>
                  <a:pt x="1219148" y="135183"/>
                </a:lnTo>
                <a:lnTo>
                  <a:pt x="1135285" y="135183"/>
                </a:lnTo>
                <a:lnTo>
                  <a:pt x="1135285" y="3755"/>
                </a:lnTo>
                <a:lnTo>
                  <a:pt x="1219148" y="3755"/>
                </a:lnTo>
                <a:lnTo>
                  <a:pt x="1219148" y="25034"/>
                </a:lnTo>
                <a:lnTo>
                  <a:pt x="1160319" y="25034"/>
                </a:lnTo>
                <a:lnTo>
                  <a:pt x="1160319" y="57578"/>
                </a:lnTo>
                <a:lnTo>
                  <a:pt x="1207883" y="57578"/>
                </a:lnTo>
                <a:lnTo>
                  <a:pt x="1207883" y="78856"/>
                </a:lnTo>
                <a:lnTo>
                  <a:pt x="1160319" y="78856"/>
                </a:lnTo>
                <a:lnTo>
                  <a:pt x="1160319" y="112652"/>
                </a:lnTo>
                <a:lnTo>
                  <a:pt x="1219148" y="112652"/>
                </a:lnTo>
                <a:close/>
                <a:moveTo>
                  <a:pt x="1262958" y="135183"/>
                </a:moveTo>
                <a:lnTo>
                  <a:pt x="1262958" y="3755"/>
                </a:lnTo>
                <a:lnTo>
                  <a:pt x="1285488" y="3755"/>
                </a:lnTo>
                <a:lnTo>
                  <a:pt x="1343066" y="86367"/>
                </a:lnTo>
                <a:lnTo>
                  <a:pt x="1343066" y="3755"/>
                </a:lnTo>
                <a:lnTo>
                  <a:pt x="1368100" y="3755"/>
                </a:lnTo>
                <a:lnTo>
                  <a:pt x="1368100" y="135183"/>
                </a:lnTo>
                <a:lnTo>
                  <a:pt x="1345569" y="135183"/>
                </a:lnTo>
                <a:lnTo>
                  <a:pt x="1287991" y="52571"/>
                </a:lnTo>
                <a:lnTo>
                  <a:pt x="1287991" y="135183"/>
                </a:lnTo>
                <a:lnTo>
                  <a:pt x="1262958" y="135183"/>
                </a:lnTo>
                <a:close/>
              </a:path>
            </a:pathLst>
          </a:custGeom>
          <a:solidFill>
            <a:srgbClr val="005A70"/>
          </a:solidFill>
          <a:ln w="12456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82480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E95E579-9790-4F95-8FB3-3D158C32A7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59768" y="912784"/>
            <a:ext cx="2520001" cy="1438485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>
              <a:buClr>
                <a:schemeClr val="tx2"/>
              </a:buClr>
              <a:defRPr b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p het pictogram als u een afbeelding wilt toevoegen</a:t>
            </a:r>
            <a:endParaRPr lang="en-GB" dirty="0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B6B88390-D4B4-4D35-970C-484CC8F5FB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239174" y="912783"/>
            <a:ext cx="2520001" cy="1438485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>
              <a:buClr>
                <a:schemeClr val="tx2"/>
              </a:buClr>
              <a:defRPr b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p het pictogram als u een afbeelding wilt toevoegen</a:t>
            </a:r>
            <a:endParaRPr lang="en-GB" dirty="0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92E5797A-6418-40C1-9161-B987DD33C89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18580" y="912783"/>
            <a:ext cx="2520001" cy="1438485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>
              <a:buClr>
                <a:schemeClr val="tx2"/>
              </a:buClr>
              <a:defRPr b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p het pictogram als u een afbeelding wilt toevoegen</a:t>
            </a:r>
            <a:endParaRPr lang="en-GB" dirty="0"/>
          </a:p>
        </p:txBody>
      </p:sp>
      <p:sp>
        <p:nvSpPr>
          <p:cNvPr id="14" name="Graphic 8">
            <a:extLst>
              <a:ext uri="{FF2B5EF4-FFF2-40B4-BE49-F238E27FC236}">
                <a16:creationId xmlns:a16="http://schemas.microsoft.com/office/drawing/2014/main" id="{0B38F850-F7A8-49FE-ACD1-A0B665FE438D}"/>
              </a:ext>
            </a:extLst>
          </p:cNvPr>
          <p:cNvSpPr/>
          <p:nvPr userDrawn="1"/>
        </p:nvSpPr>
        <p:spPr>
          <a:xfrm>
            <a:off x="3817597" y="389479"/>
            <a:ext cx="1364345" cy="162720"/>
          </a:xfrm>
          <a:custGeom>
            <a:avLst/>
            <a:gdLst>
              <a:gd name="connsiteX0" fmla="*/ 57578 w 1364344"/>
              <a:gd name="connsiteY0" fmla="*/ 3755 h 162719"/>
              <a:gd name="connsiteX1" fmla="*/ 100135 w 1364344"/>
              <a:gd name="connsiteY1" fmla="*/ 42557 h 162719"/>
              <a:gd name="connsiteX2" fmla="*/ 57578 w 1364344"/>
              <a:gd name="connsiteY2" fmla="*/ 82612 h 162719"/>
              <a:gd name="connsiteX3" fmla="*/ 23782 w 1364344"/>
              <a:gd name="connsiteY3" fmla="*/ 82612 h 162719"/>
              <a:gd name="connsiteX4" fmla="*/ 23782 w 1364344"/>
              <a:gd name="connsiteY4" fmla="*/ 135183 h 162719"/>
              <a:gd name="connsiteX5" fmla="*/ 0 w 1364344"/>
              <a:gd name="connsiteY5" fmla="*/ 135183 h 162719"/>
              <a:gd name="connsiteX6" fmla="*/ 0 w 1364344"/>
              <a:gd name="connsiteY6" fmla="*/ 3755 h 162719"/>
              <a:gd name="connsiteX7" fmla="*/ 57578 w 1364344"/>
              <a:gd name="connsiteY7" fmla="*/ 3755 h 162719"/>
              <a:gd name="connsiteX8" fmla="*/ 56326 w 1364344"/>
              <a:gd name="connsiteY8" fmla="*/ 61333 h 162719"/>
              <a:gd name="connsiteX9" fmla="*/ 73850 w 1364344"/>
              <a:gd name="connsiteY9" fmla="*/ 43809 h 162719"/>
              <a:gd name="connsiteX10" fmla="*/ 56326 w 1364344"/>
              <a:gd name="connsiteY10" fmla="*/ 26285 h 162719"/>
              <a:gd name="connsiteX11" fmla="*/ 23782 w 1364344"/>
              <a:gd name="connsiteY11" fmla="*/ 26285 h 162719"/>
              <a:gd name="connsiteX12" fmla="*/ 23782 w 1364344"/>
              <a:gd name="connsiteY12" fmla="*/ 61333 h 162719"/>
              <a:gd name="connsiteX13" fmla="*/ 56326 w 1364344"/>
              <a:gd name="connsiteY13" fmla="*/ 61333 h 162719"/>
              <a:gd name="connsiteX14" fmla="*/ 215291 w 1364344"/>
              <a:gd name="connsiteY14" fmla="*/ 112652 h 162719"/>
              <a:gd name="connsiteX15" fmla="*/ 215291 w 1364344"/>
              <a:gd name="connsiteY15" fmla="*/ 135183 h 162719"/>
              <a:gd name="connsiteX16" fmla="*/ 131428 w 1364344"/>
              <a:gd name="connsiteY16" fmla="*/ 135183 h 162719"/>
              <a:gd name="connsiteX17" fmla="*/ 131428 w 1364344"/>
              <a:gd name="connsiteY17" fmla="*/ 3755 h 162719"/>
              <a:gd name="connsiteX18" fmla="*/ 215291 w 1364344"/>
              <a:gd name="connsiteY18" fmla="*/ 3755 h 162719"/>
              <a:gd name="connsiteX19" fmla="*/ 215291 w 1364344"/>
              <a:gd name="connsiteY19" fmla="*/ 25034 h 162719"/>
              <a:gd name="connsiteX20" fmla="*/ 156462 w 1364344"/>
              <a:gd name="connsiteY20" fmla="*/ 25034 h 162719"/>
              <a:gd name="connsiteX21" fmla="*/ 156462 w 1364344"/>
              <a:gd name="connsiteY21" fmla="*/ 57578 h 162719"/>
              <a:gd name="connsiteX22" fmla="*/ 204026 w 1364344"/>
              <a:gd name="connsiteY22" fmla="*/ 57578 h 162719"/>
              <a:gd name="connsiteX23" fmla="*/ 204026 w 1364344"/>
              <a:gd name="connsiteY23" fmla="*/ 78856 h 162719"/>
              <a:gd name="connsiteX24" fmla="*/ 156462 w 1364344"/>
              <a:gd name="connsiteY24" fmla="*/ 78856 h 162719"/>
              <a:gd name="connsiteX25" fmla="*/ 156462 w 1364344"/>
              <a:gd name="connsiteY25" fmla="*/ 112652 h 162719"/>
              <a:gd name="connsiteX26" fmla="*/ 215291 w 1364344"/>
              <a:gd name="connsiteY26" fmla="*/ 112652 h 162719"/>
              <a:gd name="connsiteX27" fmla="*/ 282882 w 1364344"/>
              <a:gd name="connsiteY27" fmla="*/ 112652 h 162719"/>
              <a:gd name="connsiteX28" fmla="*/ 336705 w 1364344"/>
              <a:gd name="connsiteY28" fmla="*/ 112652 h 162719"/>
              <a:gd name="connsiteX29" fmla="*/ 336705 w 1364344"/>
              <a:gd name="connsiteY29" fmla="*/ 135183 h 162719"/>
              <a:gd name="connsiteX30" fmla="*/ 259100 w 1364344"/>
              <a:gd name="connsiteY30" fmla="*/ 135183 h 162719"/>
              <a:gd name="connsiteX31" fmla="*/ 259100 w 1364344"/>
              <a:gd name="connsiteY31" fmla="*/ 3755 h 162719"/>
              <a:gd name="connsiteX32" fmla="*/ 282882 w 1364344"/>
              <a:gd name="connsiteY32" fmla="*/ 3755 h 162719"/>
              <a:gd name="connsiteX33" fmla="*/ 282882 w 1364344"/>
              <a:gd name="connsiteY33" fmla="*/ 112652 h 162719"/>
              <a:gd name="connsiteX34" fmla="*/ 404297 w 1364344"/>
              <a:gd name="connsiteY34" fmla="*/ 137686 h 162719"/>
              <a:gd name="connsiteX35" fmla="*/ 357984 w 1364344"/>
              <a:gd name="connsiteY35" fmla="*/ 101387 h 162719"/>
              <a:gd name="connsiteX36" fmla="*/ 381766 w 1364344"/>
              <a:gd name="connsiteY36" fmla="*/ 95128 h 162719"/>
              <a:gd name="connsiteX37" fmla="*/ 405548 w 1364344"/>
              <a:gd name="connsiteY37" fmla="*/ 115155 h 162719"/>
              <a:gd name="connsiteX38" fmla="*/ 424324 w 1364344"/>
              <a:gd name="connsiteY38" fmla="*/ 100135 h 162719"/>
              <a:gd name="connsiteX39" fmla="*/ 401793 w 1364344"/>
              <a:gd name="connsiteY39" fmla="*/ 80108 h 162719"/>
              <a:gd name="connsiteX40" fmla="*/ 362991 w 1364344"/>
              <a:gd name="connsiteY40" fmla="*/ 40054 h 162719"/>
              <a:gd name="connsiteX41" fmla="*/ 403045 w 1364344"/>
              <a:gd name="connsiteY41" fmla="*/ 1252 h 162719"/>
              <a:gd name="connsiteX42" fmla="*/ 443099 w 1364344"/>
              <a:gd name="connsiteY42" fmla="*/ 26285 h 162719"/>
              <a:gd name="connsiteX43" fmla="*/ 421820 w 1364344"/>
              <a:gd name="connsiteY43" fmla="*/ 36299 h 162719"/>
              <a:gd name="connsiteX44" fmla="*/ 404297 w 1364344"/>
              <a:gd name="connsiteY44" fmla="*/ 23782 h 162719"/>
              <a:gd name="connsiteX45" fmla="*/ 388025 w 1364344"/>
              <a:gd name="connsiteY45" fmla="*/ 38802 h 162719"/>
              <a:gd name="connsiteX46" fmla="*/ 409303 w 1364344"/>
              <a:gd name="connsiteY46" fmla="*/ 58829 h 162719"/>
              <a:gd name="connsiteX47" fmla="*/ 448106 w 1364344"/>
              <a:gd name="connsiteY47" fmla="*/ 98884 h 162719"/>
              <a:gd name="connsiteX48" fmla="*/ 404297 w 1364344"/>
              <a:gd name="connsiteY48" fmla="*/ 137686 h 162719"/>
              <a:gd name="connsiteX49" fmla="*/ 628350 w 1364344"/>
              <a:gd name="connsiteY49" fmla="*/ 135183 h 162719"/>
              <a:gd name="connsiteX50" fmla="*/ 597057 w 1364344"/>
              <a:gd name="connsiteY50" fmla="*/ 82612 h 162719"/>
              <a:gd name="connsiteX51" fmla="*/ 573275 w 1364344"/>
              <a:gd name="connsiteY51" fmla="*/ 82612 h 162719"/>
              <a:gd name="connsiteX52" fmla="*/ 573275 w 1364344"/>
              <a:gd name="connsiteY52" fmla="*/ 135183 h 162719"/>
              <a:gd name="connsiteX53" fmla="*/ 549493 w 1364344"/>
              <a:gd name="connsiteY53" fmla="*/ 135183 h 162719"/>
              <a:gd name="connsiteX54" fmla="*/ 549493 w 1364344"/>
              <a:gd name="connsiteY54" fmla="*/ 3755 h 162719"/>
              <a:gd name="connsiteX55" fmla="*/ 607071 w 1364344"/>
              <a:gd name="connsiteY55" fmla="*/ 3755 h 162719"/>
              <a:gd name="connsiteX56" fmla="*/ 648377 w 1364344"/>
              <a:gd name="connsiteY56" fmla="*/ 41306 h 162719"/>
              <a:gd name="connsiteX57" fmla="*/ 620839 w 1364344"/>
              <a:gd name="connsiteY57" fmla="*/ 76353 h 162719"/>
              <a:gd name="connsiteX58" fmla="*/ 657138 w 1364344"/>
              <a:gd name="connsiteY58" fmla="*/ 135183 h 162719"/>
              <a:gd name="connsiteX59" fmla="*/ 628350 w 1364344"/>
              <a:gd name="connsiteY59" fmla="*/ 135183 h 162719"/>
              <a:gd name="connsiteX60" fmla="*/ 622091 w 1364344"/>
              <a:gd name="connsiteY60" fmla="*/ 42557 h 162719"/>
              <a:gd name="connsiteX61" fmla="*/ 603316 w 1364344"/>
              <a:gd name="connsiteY61" fmla="*/ 26285 h 162719"/>
              <a:gd name="connsiteX62" fmla="*/ 573275 w 1364344"/>
              <a:gd name="connsiteY62" fmla="*/ 26285 h 162719"/>
              <a:gd name="connsiteX63" fmla="*/ 573275 w 1364344"/>
              <a:gd name="connsiteY63" fmla="*/ 61333 h 162719"/>
              <a:gd name="connsiteX64" fmla="*/ 602064 w 1364344"/>
              <a:gd name="connsiteY64" fmla="*/ 61333 h 162719"/>
              <a:gd name="connsiteX65" fmla="*/ 622091 w 1364344"/>
              <a:gd name="connsiteY65" fmla="*/ 42557 h 162719"/>
              <a:gd name="connsiteX66" fmla="*/ 720975 w 1364344"/>
              <a:gd name="connsiteY66" fmla="*/ 135183 h 162719"/>
              <a:gd name="connsiteX67" fmla="*/ 695941 w 1364344"/>
              <a:gd name="connsiteY67" fmla="*/ 135183 h 162719"/>
              <a:gd name="connsiteX68" fmla="*/ 695941 w 1364344"/>
              <a:gd name="connsiteY68" fmla="*/ 3755 h 162719"/>
              <a:gd name="connsiteX69" fmla="*/ 720975 w 1364344"/>
              <a:gd name="connsiteY69" fmla="*/ 3755 h 162719"/>
              <a:gd name="connsiteX70" fmla="*/ 720975 w 1364344"/>
              <a:gd name="connsiteY70" fmla="*/ 135183 h 162719"/>
              <a:gd name="connsiteX71" fmla="*/ 794825 w 1364344"/>
              <a:gd name="connsiteY71" fmla="*/ 168978 h 162719"/>
              <a:gd name="connsiteX72" fmla="*/ 769791 w 1364344"/>
              <a:gd name="connsiteY72" fmla="*/ 168978 h 162719"/>
              <a:gd name="connsiteX73" fmla="*/ 769791 w 1364344"/>
              <a:gd name="connsiteY73" fmla="*/ 37551 h 162719"/>
              <a:gd name="connsiteX74" fmla="*/ 794825 w 1364344"/>
              <a:gd name="connsiteY74" fmla="*/ 37551 h 162719"/>
              <a:gd name="connsiteX75" fmla="*/ 794825 w 1364344"/>
              <a:gd name="connsiteY75" fmla="*/ 168978 h 162719"/>
              <a:gd name="connsiteX76" fmla="*/ 897463 w 1364344"/>
              <a:gd name="connsiteY76" fmla="*/ 137686 h 162719"/>
              <a:gd name="connsiteX77" fmla="*/ 836131 w 1364344"/>
              <a:gd name="connsiteY77" fmla="*/ 68843 h 162719"/>
              <a:gd name="connsiteX78" fmla="*/ 897463 w 1364344"/>
              <a:gd name="connsiteY78" fmla="*/ 0 h 162719"/>
              <a:gd name="connsiteX79" fmla="*/ 948783 w 1364344"/>
              <a:gd name="connsiteY79" fmla="*/ 36299 h 162719"/>
              <a:gd name="connsiteX80" fmla="*/ 926252 w 1364344"/>
              <a:gd name="connsiteY80" fmla="*/ 45061 h 162719"/>
              <a:gd name="connsiteX81" fmla="*/ 897463 w 1364344"/>
              <a:gd name="connsiteY81" fmla="*/ 23782 h 162719"/>
              <a:gd name="connsiteX82" fmla="*/ 861164 w 1364344"/>
              <a:gd name="connsiteY82" fmla="*/ 68843 h 162719"/>
              <a:gd name="connsiteX83" fmla="*/ 897463 w 1364344"/>
              <a:gd name="connsiteY83" fmla="*/ 113904 h 162719"/>
              <a:gd name="connsiteX84" fmla="*/ 932511 w 1364344"/>
              <a:gd name="connsiteY84" fmla="*/ 87618 h 162719"/>
              <a:gd name="connsiteX85" fmla="*/ 953790 w 1364344"/>
              <a:gd name="connsiteY85" fmla="*/ 98884 h 162719"/>
              <a:gd name="connsiteX86" fmla="*/ 897463 w 1364344"/>
              <a:gd name="connsiteY86" fmla="*/ 137686 h 162719"/>
              <a:gd name="connsiteX87" fmla="*/ 1048918 w 1364344"/>
              <a:gd name="connsiteY87" fmla="*/ 53823 h 162719"/>
              <a:gd name="connsiteX88" fmla="*/ 1100238 w 1364344"/>
              <a:gd name="connsiteY88" fmla="*/ 135183 h 162719"/>
              <a:gd name="connsiteX89" fmla="*/ 1068945 w 1364344"/>
              <a:gd name="connsiteY89" fmla="*/ 135183 h 162719"/>
              <a:gd name="connsiteX90" fmla="*/ 1028891 w 1364344"/>
              <a:gd name="connsiteY90" fmla="*/ 71346 h 162719"/>
              <a:gd name="connsiteX91" fmla="*/ 1013871 w 1364344"/>
              <a:gd name="connsiteY91" fmla="*/ 86367 h 162719"/>
              <a:gd name="connsiteX92" fmla="*/ 1013871 w 1364344"/>
              <a:gd name="connsiteY92" fmla="*/ 135183 h 162719"/>
              <a:gd name="connsiteX93" fmla="*/ 990089 w 1364344"/>
              <a:gd name="connsiteY93" fmla="*/ 135183 h 162719"/>
              <a:gd name="connsiteX94" fmla="*/ 990089 w 1364344"/>
              <a:gd name="connsiteY94" fmla="*/ 3755 h 162719"/>
              <a:gd name="connsiteX95" fmla="*/ 1013871 w 1364344"/>
              <a:gd name="connsiteY95" fmla="*/ 3755 h 162719"/>
              <a:gd name="connsiteX96" fmla="*/ 1013871 w 1364344"/>
              <a:gd name="connsiteY96" fmla="*/ 56326 h 162719"/>
              <a:gd name="connsiteX97" fmla="*/ 1067694 w 1364344"/>
              <a:gd name="connsiteY97" fmla="*/ 3755 h 162719"/>
              <a:gd name="connsiteX98" fmla="*/ 1102741 w 1364344"/>
              <a:gd name="connsiteY98" fmla="*/ 3755 h 162719"/>
              <a:gd name="connsiteX99" fmla="*/ 1048918 w 1364344"/>
              <a:gd name="connsiteY99" fmla="*/ 53823 h 162719"/>
              <a:gd name="connsiteX100" fmla="*/ 1219148 w 1364344"/>
              <a:gd name="connsiteY100" fmla="*/ 112652 h 162719"/>
              <a:gd name="connsiteX101" fmla="*/ 1219148 w 1364344"/>
              <a:gd name="connsiteY101" fmla="*/ 135183 h 162719"/>
              <a:gd name="connsiteX102" fmla="*/ 1135285 w 1364344"/>
              <a:gd name="connsiteY102" fmla="*/ 135183 h 162719"/>
              <a:gd name="connsiteX103" fmla="*/ 1135285 w 1364344"/>
              <a:gd name="connsiteY103" fmla="*/ 3755 h 162719"/>
              <a:gd name="connsiteX104" fmla="*/ 1219148 w 1364344"/>
              <a:gd name="connsiteY104" fmla="*/ 3755 h 162719"/>
              <a:gd name="connsiteX105" fmla="*/ 1219148 w 1364344"/>
              <a:gd name="connsiteY105" fmla="*/ 25034 h 162719"/>
              <a:gd name="connsiteX106" fmla="*/ 1160319 w 1364344"/>
              <a:gd name="connsiteY106" fmla="*/ 25034 h 162719"/>
              <a:gd name="connsiteX107" fmla="*/ 1160319 w 1364344"/>
              <a:gd name="connsiteY107" fmla="*/ 57578 h 162719"/>
              <a:gd name="connsiteX108" fmla="*/ 1207883 w 1364344"/>
              <a:gd name="connsiteY108" fmla="*/ 57578 h 162719"/>
              <a:gd name="connsiteX109" fmla="*/ 1207883 w 1364344"/>
              <a:gd name="connsiteY109" fmla="*/ 78856 h 162719"/>
              <a:gd name="connsiteX110" fmla="*/ 1160319 w 1364344"/>
              <a:gd name="connsiteY110" fmla="*/ 78856 h 162719"/>
              <a:gd name="connsiteX111" fmla="*/ 1160319 w 1364344"/>
              <a:gd name="connsiteY111" fmla="*/ 112652 h 162719"/>
              <a:gd name="connsiteX112" fmla="*/ 1219148 w 1364344"/>
              <a:gd name="connsiteY112" fmla="*/ 112652 h 162719"/>
              <a:gd name="connsiteX113" fmla="*/ 1262958 w 1364344"/>
              <a:gd name="connsiteY113" fmla="*/ 135183 h 162719"/>
              <a:gd name="connsiteX114" fmla="*/ 1262958 w 1364344"/>
              <a:gd name="connsiteY114" fmla="*/ 3755 h 162719"/>
              <a:gd name="connsiteX115" fmla="*/ 1285488 w 1364344"/>
              <a:gd name="connsiteY115" fmla="*/ 3755 h 162719"/>
              <a:gd name="connsiteX116" fmla="*/ 1343066 w 1364344"/>
              <a:gd name="connsiteY116" fmla="*/ 86367 h 162719"/>
              <a:gd name="connsiteX117" fmla="*/ 1343066 w 1364344"/>
              <a:gd name="connsiteY117" fmla="*/ 3755 h 162719"/>
              <a:gd name="connsiteX118" fmla="*/ 1368100 w 1364344"/>
              <a:gd name="connsiteY118" fmla="*/ 3755 h 162719"/>
              <a:gd name="connsiteX119" fmla="*/ 1368100 w 1364344"/>
              <a:gd name="connsiteY119" fmla="*/ 135183 h 162719"/>
              <a:gd name="connsiteX120" fmla="*/ 1345569 w 1364344"/>
              <a:gd name="connsiteY120" fmla="*/ 135183 h 162719"/>
              <a:gd name="connsiteX121" fmla="*/ 1287991 w 1364344"/>
              <a:gd name="connsiteY121" fmla="*/ 52571 h 162719"/>
              <a:gd name="connsiteX122" fmla="*/ 1287991 w 1364344"/>
              <a:gd name="connsiteY122" fmla="*/ 135183 h 162719"/>
              <a:gd name="connsiteX123" fmla="*/ 1262958 w 1364344"/>
              <a:gd name="connsiteY123" fmla="*/ 135183 h 16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364344" h="162719">
                <a:moveTo>
                  <a:pt x="57578" y="3755"/>
                </a:moveTo>
                <a:cubicBezTo>
                  <a:pt x="85115" y="3755"/>
                  <a:pt x="100135" y="23782"/>
                  <a:pt x="100135" y="42557"/>
                </a:cubicBezTo>
                <a:cubicBezTo>
                  <a:pt x="100135" y="62585"/>
                  <a:pt x="86367" y="82612"/>
                  <a:pt x="57578" y="82612"/>
                </a:cubicBezTo>
                <a:lnTo>
                  <a:pt x="23782" y="82612"/>
                </a:lnTo>
                <a:lnTo>
                  <a:pt x="23782" y="135183"/>
                </a:lnTo>
                <a:lnTo>
                  <a:pt x="0" y="135183"/>
                </a:lnTo>
                <a:lnTo>
                  <a:pt x="0" y="3755"/>
                </a:lnTo>
                <a:lnTo>
                  <a:pt x="57578" y="3755"/>
                </a:lnTo>
                <a:close/>
                <a:moveTo>
                  <a:pt x="56326" y="61333"/>
                </a:moveTo>
                <a:cubicBezTo>
                  <a:pt x="68843" y="61333"/>
                  <a:pt x="73850" y="52571"/>
                  <a:pt x="73850" y="43809"/>
                </a:cubicBezTo>
                <a:cubicBezTo>
                  <a:pt x="73850" y="35047"/>
                  <a:pt x="67591" y="26285"/>
                  <a:pt x="56326" y="26285"/>
                </a:cubicBezTo>
                <a:lnTo>
                  <a:pt x="23782" y="26285"/>
                </a:lnTo>
                <a:lnTo>
                  <a:pt x="23782" y="61333"/>
                </a:lnTo>
                <a:lnTo>
                  <a:pt x="56326" y="61333"/>
                </a:lnTo>
                <a:close/>
                <a:moveTo>
                  <a:pt x="215291" y="112652"/>
                </a:moveTo>
                <a:lnTo>
                  <a:pt x="215291" y="135183"/>
                </a:lnTo>
                <a:lnTo>
                  <a:pt x="131428" y="135183"/>
                </a:lnTo>
                <a:lnTo>
                  <a:pt x="131428" y="3755"/>
                </a:lnTo>
                <a:lnTo>
                  <a:pt x="215291" y="3755"/>
                </a:lnTo>
                <a:lnTo>
                  <a:pt x="215291" y="25034"/>
                </a:lnTo>
                <a:lnTo>
                  <a:pt x="156462" y="25034"/>
                </a:lnTo>
                <a:lnTo>
                  <a:pt x="156462" y="57578"/>
                </a:lnTo>
                <a:lnTo>
                  <a:pt x="204026" y="57578"/>
                </a:lnTo>
                <a:lnTo>
                  <a:pt x="204026" y="78856"/>
                </a:lnTo>
                <a:lnTo>
                  <a:pt x="156462" y="78856"/>
                </a:lnTo>
                <a:lnTo>
                  <a:pt x="156462" y="112652"/>
                </a:lnTo>
                <a:lnTo>
                  <a:pt x="215291" y="112652"/>
                </a:lnTo>
                <a:close/>
                <a:moveTo>
                  <a:pt x="282882" y="112652"/>
                </a:moveTo>
                <a:lnTo>
                  <a:pt x="336705" y="112652"/>
                </a:lnTo>
                <a:lnTo>
                  <a:pt x="336705" y="135183"/>
                </a:lnTo>
                <a:lnTo>
                  <a:pt x="259100" y="135183"/>
                </a:lnTo>
                <a:lnTo>
                  <a:pt x="259100" y="3755"/>
                </a:lnTo>
                <a:lnTo>
                  <a:pt x="282882" y="3755"/>
                </a:lnTo>
                <a:lnTo>
                  <a:pt x="282882" y="112652"/>
                </a:lnTo>
                <a:close/>
                <a:moveTo>
                  <a:pt x="404297" y="137686"/>
                </a:moveTo>
                <a:cubicBezTo>
                  <a:pt x="383018" y="137686"/>
                  <a:pt x="361739" y="125169"/>
                  <a:pt x="357984" y="101387"/>
                </a:cubicBezTo>
                <a:lnTo>
                  <a:pt x="381766" y="95128"/>
                </a:lnTo>
                <a:cubicBezTo>
                  <a:pt x="383018" y="108897"/>
                  <a:pt x="394283" y="115155"/>
                  <a:pt x="405548" y="115155"/>
                </a:cubicBezTo>
                <a:cubicBezTo>
                  <a:pt x="415562" y="115155"/>
                  <a:pt x="424324" y="110149"/>
                  <a:pt x="424324" y="100135"/>
                </a:cubicBezTo>
                <a:cubicBezTo>
                  <a:pt x="424324" y="88870"/>
                  <a:pt x="414310" y="85115"/>
                  <a:pt x="401793" y="80108"/>
                </a:cubicBezTo>
                <a:cubicBezTo>
                  <a:pt x="384270" y="73850"/>
                  <a:pt x="362991" y="66340"/>
                  <a:pt x="362991" y="40054"/>
                </a:cubicBezTo>
                <a:cubicBezTo>
                  <a:pt x="362991" y="13769"/>
                  <a:pt x="383018" y="1252"/>
                  <a:pt x="403045" y="1252"/>
                </a:cubicBezTo>
                <a:cubicBezTo>
                  <a:pt x="419317" y="1252"/>
                  <a:pt x="436841" y="8762"/>
                  <a:pt x="443099" y="26285"/>
                </a:cubicBezTo>
                <a:lnTo>
                  <a:pt x="421820" y="36299"/>
                </a:lnTo>
                <a:cubicBezTo>
                  <a:pt x="419317" y="27537"/>
                  <a:pt x="410555" y="23782"/>
                  <a:pt x="404297" y="23782"/>
                </a:cubicBezTo>
                <a:cubicBezTo>
                  <a:pt x="395535" y="23782"/>
                  <a:pt x="388025" y="28789"/>
                  <a:pt x="388025" y="38802"/>
                </a:cubicBezTo>
                <a:cubicBezTo>
                  <a:pt x="388025" y="48816"/>
                  <a:pt x="398038" y="53823"/>
                  <a:pt x="409303" y="58829"/>
                </a:cubicBezTo>
                <a:cubicBezTo>
                  <a:pt x="426827" y="65088"/>
                  <a:pt x="448106" y="71346"/>
                  <a:pt x="448106" y="98884"/>
                </a:cubicBezTo>
                <a:cubicBezTo>
                  <a:pt x="448106" y="123917"/>
                  <a:pt x="425575" y="137686"/>
                  <a:pt x="404297" y="137686"/>
                </a:cubicBezTo>
                <a:close/>
                <a:moveTo>
                  <a:pt x="628350" y="135183"/>
                </a:moveTo>
                <a:lnTo>
                  <a:pt x="597057" y="82612"/>
                </a:lnTo>
                <a:lnTo>
                  <a:pt x="573275" y="82612"/>
                </a:lnTo>
                <a:lnTo>
                  <a:pt x="573275" y="135183"/>
                </a:lnTo>
                <a:lnTo>
                  <a:pt x="549493" y="135183"/>
                </a:lnTo>
                <a:lnTo>
                  <a:pt x="549493" y="3755"/>
                </a:lnTo>
                <a:lnTo>
                  <a:pt x="607071" y="3755"/>
                </a:lnTo>
                <a:cubicBezTo>
                  <a:pt x="634608" y="3755"/>
                  <a:pt x="648377" y="22530"/>
                  <a:pt x="648377" y="41306"/>
                </a:cubicBezTo>
                <a:cubicBezTo>
                  <a:pt x="648377" y="56326"/>
                  <a:pt x="638363" y="71346"/>
                  <a:pt x="620839" y="76353"/>
                </a:cubicBezTo>
                <a:lnTo>
                  <a:pt x="657138" y="135183"/>
                </a:lnTo>
                <a:lnTo>
                  <a:pt x="628350" y="135183"/>
                </a:lnTo>
                <a:close/>
                <a:moveTo>
                  <a:pt x="622091" y="42557"/>
                </a:moveTo>
                <a:cubicBezTo>
                  <a:pt x="622091" y="33796"/>
                  <a:pt x="615833" y="26285"/>
                  <a:pt x="603316" y="26285"/>
                </a:cubicBezTo>
                <a:lnTo>
                  <a:pt x="573275" y="26285"/>
                </a:lnTo>
                <a:lnTo>
                  <a:pt x="573275" y="61333"/>
                </a:lnTo>
                <a:lnTo>
                  <a:pt x="602064" y="61333"/>
                </a:lnTo>
                <a:cubicBezTo>
                  <a:pt x="614581" y="61333"/>
                  <a:pt x="622091" y="51319"/>
                  <a:pt x="622091" y="42557"/>
                </a:cubicBezTo>
                <a:close/>
                <a:moveTo>
                  <a:pt x="720975" y="135183"/>
                </a:moveTo>
                <a:lnTo>
                  <a:pt x="695941" y="135183"/>
                </a:lnTo>
                <a:lnTo>
                  <a:pt x="695941" y="3755"/>
                </a:lnTo>
                <a:lnTo>
                  <a:pt x="720975" y="3755"/>
                </a:lnTo>
                <a:lnTo>
                  <a:pt x="720975" y="135183"/>
                </a:lnTo>
                <a:close/>
                <a:moveTo>
                  <a:pt x="794825" y="168978"/>
                </a:moveTo>
                <a:lnTo>
                  <a:pt x="769791" y="168978"/>
                </a:lnTo>
                <a:lnTo>
                  <a:pt x="769791" y="37551"/>
                </a:lnTo>
                <a:lnTo>
                  <a:pt x="794825" y="37551"/>
                </a:lnTo>
                <a:lnTo>
                  <a:pt x="794825" y="168978"/>
                </a:lnTo>
                <a:close/>
                <a:moveTo>
                  <a:pt x="897463" y="137686"/>
                </a:moveTo>
                <a:cubicBezTo>
                  <a:pt x="867423" y="137686"/>
                  <a:pt x="836131" y="115155"/>
                  <a:pt x="836131" y="68843"/>
                </a:cubicBezTo>
                <a:cubicBezTo>
                  <a:pt x="836131" y="22530"/>
                  <a:pt x="867423" y="0"/>
                  <a:pt x="897463" y="0"/>
                </a:cubicBezTo>
                <a:cubicBezTo>
                  <a:pt x="919994" y="0"/>
                  <a:pt x="941273" y="12517"/>
                  <a:pt x="948783" y="36299"/>
                </a:cubicBezTo>
                <a:lnTo>
                  <a:pt x="926252" y="45061"/>
                </a:lnTo>
                <a:cubicBezTo>
                  <a:pt x="922497" y="31292"/>
                  <a:pt x="909980" y="23782"/>
                  <a:pt x="897463" y="23782"/>
                </a:cubicBezTo>
                <a:cubicBezTo>
                  <a:pt x="879940" y="23782"/>
                  <a:pt x="861164" y="37551"/>
                  <a:pt x="861164" y="68843"/>
                </a:cubicBezTo>
                <a:cubicBezTo>
                  <a:pt x="861164" y="98884"/>
                  <a:pt x="878688" y="113904"/>
                  <a:pt x="897463" y="113904"/>
                </a:cubicBezTo>
                <a:cubicBezTo>
                  <a:pt x="912484" y="113904"/>
                  <a:pt x="927504" y="105142"/>
                  <a:pt x="932511" y="87618"/>
                </a:cubicBezTo>
                <a:lnTo>
                  <a:pt x="953790" y="98884"/>
                </a:lnTo>
                <a:cubicBezTo>
                  <a:pt x="945028" y="125169"/>
                  <a:pt x="921246" y="137686"/>
                  <a:pt x="897463" y="137686"/>
                </a:cubicBezTo>
                <a:close/>
                <a:moveTo>
                  <a:pt x="1048918" y="53823"/>
                </a:moveTo>
                <a:lnTo>
                  <a:pt x="1100238" y="135183"/>
                </a:lnTo>
                <a:lnTo>
                  <a:pt x="1068945" y="135183"/>
                </a:lnTo>
                <a:lnTo>
                  <a:pt x="1028891" y="71346"/>
                </a:lnTo>
                <a:lnTo>
                  <a:pt x="1013871" y="86367"/>
                </a:lnTo>
                <a:lnTo>
                  <a:pt x="1013871" y="135183"/>
                </a:lnTo>
                <a:lnTo>
                  <a:pt x="990089" y="135183"/>
                </a:lnTo>
                <a:lnTo>
                  <a:pt x="990089" y="3755"/>
                </a:lnTo>
                <a:lnTo>
                  <a:pt x="1013871" y="3755"/>
                </a:lnTo>
                <a:lnTo>
                  <a:pt x="1013871" y="56326"/>
                </a:lnTo>
                <a:lnTo>
                  <a:pt x="1067694" y="3755"/>
                </a:lnTo>
                <a:lnTo>
                  <a:pt x="1102741" y="3755"/>
                </a:lnTo>
                <a:lnTo>
                  <a:pt x="1048918" y="53823"/>
                </a:lnTo>
                <a:close/>
                <a:moveTo>
                  <a:pt x="1219148" y="112652"/>
                </a:moveTo>
                <a:lnTo>
                  <a:pt x="1219148" y="135183"/>
                </a:lnTo>
                <a:lnTo>
                  <a:pt x="1135285" y="135183"/>
                </a:lnTo>
                <a:lnTo>
                  <a:pt x="1135285" y="3755"/>
                </a:lnTo>
                <a:lnTo>
                  <a:pt x="1219148" y="3755"/>
                </a:lnTo>
                <a:lnTo>
                  <a:pt x="1219148" y="25034"/>
                </a:lnTo>
                <a:lnTo>
                  <a:pt x="1160319" y="25034"/>
                </a:lnTo>
                <a:lnTo>
                  <a:pt x="1160319" y="57578"/>
                </a:lnTo>
                <a:lnTo>
                  <a:pt x="1207883" y="57578"/>
                </a:lnTo>
                <a:lnTo>
                  <a:pt x="1207883" y="78856"/>
                </a:lnTo>
                <a:lnTo>
                  <a:pt x="1160319" y="78856"/>
                </a:lnTo>
                <a:lnTo>
                  <a:pt x="1160319" y="112652"/>
                </a:lnTo>
                <a:lnTo>
                  <a:pt x="1219148" y="112652"/>
                </a:lnTo>
                <a:close/>
                <a:moveTo>
                  <a:pt x="1262958" y="135183"/>
                </a:moveTo>
                <a:lnTo>
                  <a:pt x="1262958" y="3755"/>
                </a:lnTo>
                <a:lnTo>
                  <a:pt x="1285488" y="3755"/>
                </a:lnTo>
                <a:lnTo>
                  <a:pt x="1343066" y="86367"/>
                </a:lnTo>
                <a:lnTo>
                  <a:pt x="1343066" y="3755"/>
                </a:lnTo>
                <a:lnTo>
                  <a:pt x="1368100" y="3755"/>
                </a:lnTo>
                <a:lnTo>
                  <a:pt x="1368100" y="135183"/>
                </a:lnTo>
                <a:lnTo>
                  <a:pt x="1345569" y="135183"/>
                </a:lnTo>
                <a:lnTo>
                  <a:pt x="1287991" y="52571"/>
                </a:lnTo>
                <a:lnTo>
                  <a:pt x="1287991" y="135183"/>
                </a:lnTo>
                <a:lnTo>
                  <a:pt x="1262958" y="135183"/>
                </a:lnTo>
                <a:close/>
              </a:path>
            </a:pathLst>
          </a:custGeom>
          <a:solidFill>
            <a:srgbClr val="005A70"/>
          </a:solidFill>
          <a:ln w="12456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914A6F2-1CFB-430B-9CF6-6357055AE8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9768" y="2487976"/>
            <a:ext cx="2520000" cy="215187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 b="0" kern="1200" cap="none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lnSpc>
                <a:spcPct val="150000"/>
              </a:lnSpc>
              <a:defRPr sz="1050">
                <a:solidFill>
                  <a:schemeClr val="bg2"/>
                </a:solidFill>
                <a:latin typeface="+mn-lt"/>
              </a:defRPr>
            </a:lvl2pPr>
            <a:lvl3pPr>
              <a:lnSpc>
                <a:spcPct val="150000"/>
              </a:lnSpc>
              <a:defRPr sz="1050">
                <a:solidFill>
                  <a:schemeClr val="bg2"/>
                </a:solidFill>
                <a:latin typeface="+mn-lt"/>
              </a:defRPr>
            </a:lvl3pPr>
            <a:lvl4pPr>
              <a:lnSpc>
                <a:spcPct val="150000"/>
              </a:lnSpc>
              <a:defRPr sz="1050">
                <a:solidFill>
                  <a:schemeClr val="bg2"/>
                </a:solidFill>
                <a:latin typeface="+mn-lt"/>
              </a:defRPr>
            </a:lvl4pPr>
            <a:lvl5pPr>
              <a:lnSpc>
                <a:spcPct val="150000"/>
              </a:lnSpc>
              <a:defRPr sz="105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EDF08F-2310-4598-B612-4C610ACD278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39175" y="2483645"/>
            <a:ext cx="2520000" cy="21518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lnSpc>
                <a:spcPct val="150000"/>
              </a:lnSpc>
              <a:defRPr sz="1050">
                <a:solidFill>
                  <a:schemeClr val="bg2"/>
                </a:solidFill>
                <a:latin typeface="+mn-lt"/>
              </a:defRPr>
            </a:lvl2pPr>
            <a:lvl3pPr>
              <a:lnSpc>
                <a:spcPct val="150000"/>
              </a:lnSpc>
              <a:defRPr sz="1050">
                <a:solidFill>
                  <a:schemeClr val="bg2"/>
                </a:solidFill>
                <a:latin typeface="+mn-lt"/>
              </a:defRPr>
            </a:lvl3pPr>
            <a:lvl4pPr>
              <a:lnSpc>
                <a:spcPct val="150000"/>
              </a:lnSpc>
              <a:defRPr sz="1050">
                <a:solidFill>
                  <a:schemeClr val="bg2"/>
                </a:solidFill>
                <a:latin typeface="+mn-lt"/>
              </a:defRPr>
            </a:lvl4pPr>
            <a:lvl5pPr>
              <a:lnSpc>
                <a:spcPct val="150000"/>
              </a:lnSpc>
              <a:defRPr sz="105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4268B21-7978-42A5-B955-AB5031D4D75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18580" y="2471453"/>
            <a:ext cx="2520000" cy="21518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lnSpc>
                <a:spcPct val="150000"/>
              </a:lnSpc>
              <a:defRPr sz="1050">
                <a:solidFill>
                  <a:schemeClr val="bg2"/>
                </a:solidFill>
                <a:latin typeface="+mn-lt"/>
              </a:defRPr>
            </a:lvl2pPr>
            <a:lvl3pPr>
              <a:lnSpc>
                <a:spcPct val="150000"/>
              </a:lnSpc>
              <a:defRPr sz="1050">
                <a:solidFill>
                  <a:schemeClr val="bg2"/>
                </a:solidFill>
                <a:latin typeface="+mn-lt"/>
              </a:defRPr>
            </a:lvl3pPr>
            <a:lvl4pPr>
              <a:lnSpc>
                <a:spcPct val="150000"/>
              </a:lnSpc>
              <a:defRPr sz="1050">
                <a:solidFill>
                  <a:schemeClr val="bg2"/>
                </a:solidFill>
                <a:latin typeface="+mn-lt"/>
              </a:defRPr>
            </a:lvl4pPr>
            <a:lvl5pPr>
              <a:lnSpc>
                <a:spcPct val="150000"/>
              </a:lnSpc>
              <a:defRPr sz="105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6F870C4E-30B8-46B7-B3EE-C23B5D65C03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60363" y="2821111"/>
            <a:ext cx="2519405" cy="1614737"/>
          </a:xfrm>
          <a:prstGeom prst="rect">
            <a:avLst/>
          </a:prstGeom>
        </p:spPr>
        <p:txBody>
          <a:bodyPr/>
          <a:lstStyle>
            <a:lvl1pPr marL="0" indent="-172800">
              <a:lnSpc>
                <a:spcPct val="112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176213" indent="-172800">
              <a:lnSpc>
                <a:spcPct val="112000"/>
              </a:lnSpc>
              <a:spcBef>
                <a:spcPts val="0"/>
              </a:spcBef>
              <a:spcAft>
                <a:spcPts val="201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000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358775" indent="-172800">
              <a:lnSpc>
                <a:spcPct val="112000"/>
              </a:lnSpc>
              <a:spcBef>
                <a:spcPts val="0"/>
              </a:spcBef>
              <a:spcAft>
                <a:spcPts val="201"/>
              </a:spcAft>
              <a:defRPr sz="1000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541338" indent="-172800">
              <a:lnSpc>
                <a:spcPct val="112000"/>
              </a:lnSpc>
              <a:spcBef>
                <a:spcPts val="0"/>
              </a:spcBef>
              <a:spcAft>
                <a:spcPts val="201"/>
              </a:spcAft>
              <a:buSzPct val="100000"/>
              <a:defRPr sz="1000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715963" indent="-172800">
              <a:lnSpc>
                <a:spcPct val="112000"/>
              </a:lnSpc>
              <a:spcBef>
                <a:spcPts val="0"/>
              </a:spcBef>
              <a:spcAft>
                <a:spcPts val="201"/>
              </a:spcAft>
              <a:buSzPct val="100000"/>
              <a:defRPr sz="1000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marL="898525" indent="-172800">
              <a:lnSpc>
                <a:spcPct val="112000"/>
              </a:lnSpc>
              <a:spcBef>
                <a:spcPts val="0"/>
              </a:spcBef>
              <a:spcAft>
                <a:spcPts val="201"/>
              </a:spcAft>
              <a:buClr>
                <a:schemeClr val="tx2"/>
              </a:buClr>
              <a:defRPr sz="1000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6pPr>
            <a:lvl7pPr marL="1074738" indent="-172800">
              <a:lnSpc>
                <a:spcPct val="112000"/>
              </a:lnSpc>
              <a:spcBef>
                <a:spcPts val="0"/>
              </a:spcBef>
              <a:spcAft>
                <a:spcPts val="201"/>
              </a:spcAft>
              <a:buClr>
                <a:schemeClr val="tx2"/>
              </a:buClr>
              <a:defRPr sz="1000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7pPr>
            <a:lvl8pPr marL="1265238" indent="-172800">
              <a:lnSpc>
                <a:spcPct val="112000"/>
              </a:lnSpc>
              <a:spcBef>
                <a:spcPts val="0"/>
              </a:spcBef>
              <a:spcAft>
                <a:spcPts val="201"/>
              </a:spcAft>
              <a:buClr>
                <a:schemeClr val="tx2"/>
              </a:buClr>
              <a:defRPr sz="1000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8pPr>
          </a:lstStyle>
          <a:p>
            <a:pPr lvl="0"/>
            <a:r>
              <a:rPr lang="nl-NL" dirty="0"/>
              <a:t>Klik om te bewerken</a:t>
            </a:r>
          </a:p>
          <a:p>
            <a:pPr lvl="1"/>
            <a:r>
              <a:rPr lang="nl-NL" dirty="0"/>
              <a:t>Niveau 1</a:t>
            </a:r>
          </a:p>
          <a:p>
            <a:pPr lvl="2"/>
            <a:r>
              <a:rPr lang="nl-NL" dirty="0"/>
              <a:t>Niveau 2</a:t>
            </a:r>
          </a:p>
          <a:p>
            <a:pPr lvl="3"/>
            <a:r>
              <a:rPr lang="nl-NL" dirty="0"/>
              <a:t>Niveau 3</a:t>
            </a:r>
          </a:p>
          <a:p>
            <a:pPr lvl="4"/>
            <a:r>
              <a:rPr lang="nl-NL" dirty="0"/>
              <a:t>Niveau 4</a:t>
            </a:r>
          </a:p>
          <a:p>
            <a:pPr lvl="5"/>
            <a:r>
              <a:rPr lang="nl-NL" dirty="0"/>
              <a:t>Niveau 5</a:t>
            </a:r>
          </a:p>
          <a:p>
            <a:pPr lvl="6"/>
            <a:r>
              <a:rPr lang="nl-NL" dirty="0"/>
              <a:t>Niveau 6</a:t>
            </a:r>
          </a:p>
          <a:p>
            <a:pPr lvl="7"/>
            <a:r>
              <a:rPr lang="nl-NL" dirty="0"/>
              <a:t>Niveau 7</a:t>
            </a:r>
          </a:p>
        </p:txBody>
      </p:sp>
      <p:sp>
        <p:nvSpPr>
          <p:cNvPr id="25" name="Tijdelijke aanduiding voor tekst 10">
            <a:extLst>
              <a:ext uri="{FF2B5EF4-FFF2-40B4-BE49-F238E27FC236}">
                <a16:creationId xmlns:a16="http://schemas.microsoft.com/office/drawing/2014/main" id="{18DE6896-F5D8-464A-8865-8B785353EF4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239174" y="2821110"/>
            <a:ext cx="2519405" cy="1614737"/>
          </a:xfrm>
          <a:prstGeom prst="rect">
            <a:avLst/>
          </a:prstGeom>
        </p:spPr>
        <p:txBody>
          <a:bodyPr/>
          <a:lstStyle>
            <a:lvl1pPr marL="0" indent="-172800">
              <a:lnSpc>
                <a:spcPct val="112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176213" indent="-172800">
              <a:lnSpc>
                <a:spcPct val="112000"/>
              </a:lnSpc>
              <a:spcBef>
                <a:spcPts val="0"/>
              </a:spcBef>
              <a:spcAft>
                <a:spcPts val="201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000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358775" indent="-172800">
              <a:lnSpc>
                <a:spcPct val="112000"/>
              </a:lnSpc>
              <a:spcBef>
                <a:spcPts val="0"/>
              </a:spcBef>
              <a:spcAft>
                <a:spcPts val="201"/>
              </a:spcAft>
              <a:defRPr sz="1000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541338" indent="-172800">
              <a:lnSpc>
                <a:spcPct val="112000"/>
              </a:lnSpc>
              <a:spcBef>
                <a:spcPts val="0"/>
              </a:spcBef>
              <a:spcAft>
                <a:spcPts val="201"/>
              </a:spcAft>
              <a:buSzPct val="100000"/>
              <a:defRPr sz="1000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715963" indent="-172800">
              <a:lnSpc>
                <a:spcPct val="112000"/>
              </a:lnSpc>
              <a:spcBef>
                <a:spcPts val="0"/>
              </a:spcBef>
              <a:spcAft>
                <a:spcPts val="201"/>
              </a:spcAft>
              <a:buSzPct val="100000"/>
              <a:defRPr sz="1000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marL="898525" indent="-172800">
              <a:lnSpc>
                <a:spcPct val="112000"/>
              </a:lnSpc>
              <a:spcBef>
                <a:spcPts val="0"/>
              </a:spcBef>
              <a:spcAft>
                <a:spcPts val="201"/>
              </a:spcAft>
              <a:buClr>
                <a:schemeClr val="tx2"/>
              </a:buClr>
              <a:defRPr sz="1000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6pPr>
            <a:lvl7pPr marL="1074738" indent="-172800">
              <a:lnSpc>
                <a:spcPct val="112000"/>
              </a:lnSpc>
              <a:spcBef>
                <a:spcPts val="0"/>
              </a:spcBef>
              <a:spcAft>
                <a:spcPts val="201"/>
              </a:spcAft>
              <a:buClr>
                <a:schemeClr val="tx2"/>
              </a:buClr>
              <a:defRPr sz="1000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7pPr>
            <a:lvl8pPr marL="1265238" indent="-172800">
              <a:lnSpc>
                <a:spcPct val="112000"/>
              </a:lnSpc>
              <a:spcBef>
                <a:spcPts val="0"/>
              </a:spcBef>
              <a:spcAft>
                <a:spcPts val="201"/>
              </a:spcAft>
              <a:buClr>
                <a:schemeClr val="tx2"/>
              </a:buClr>
              <a:defRPr sz="1000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8pPr>
          </a:lstStyle>
          <a:p>
            <a:pPr lvl="0"/>
            <a:r>
              <a:rPr lang="nl-NL" dirty="0"/>
              <a:t>Klik om te bewerken</a:t>
            </a:r>
          </a:p>
          <a:p>
            <a:pPr lvl="1"/>
            <a:r>
              <a:rPr lang="nl-NL" dirty="0"/>
              <a:t>Niveau 1</a:t>
            </a:r>
          </a:p>
          <a:p>
            <a:pPr lvl="2"/>
            <a:r>
              <a:rPr lang="nl-NL" dirty="0"/>
              <a:t>Niveau 2</a:t>
            </a:r>
          </a:p>
          <a:p>
            <a:pPr lvl="3"/>
            <a:r>
              <a:rPr lang="nl-NL" dirty="0"/>
              <a:t>Niveau 3</a:t>
            </a:r>
          </a:p>
          <a:p>
            <a:pPr lvl="4"/>
            <a:r>
              <a:rPr lang="nl-NL" dirty="0"/>
              <a:t>Niveau 4</a:t>
            </a:r>
          </a:p>
          <a:p>
            <a:pPr lvl="5"/>
            <a:r>
              <a:rPr lang="nl-NL" dirty="0"/>
              <a:t>Niveau 5</a:t>
            </a:r>
          </a:p>
          <a:p>
            <a:pPr lvl="6"/>
            <a:r>
              <a:rPr lang="nl-NL" dirty="0"/>
              <a:t>Niveau 6</a:t>
            </a:r>
          </a:p>
          <a:p>
            <a:pPr lvl="7"/>
            <a:r>
              <a:rPr lang="nl-NL" dirty="0"/>
              <a:t>Niveau 7</a:t>
            </a:r>
          </a:p>
        </p:txBody>
      </p:sp>
      <p:sp>
        <p:nvSpPr>
          <p:cNvPr id="26" name="Tijdelijke aanduiding voor tekst 10">
            <a:extLst>
              <a:ext uri="{FF2B5EF4-FFF2-40B4-BE49-F238E27FC236}">
                <a16:creationId xmlns:a16="http://schemas.microsoft.com/office/drawing/2014/main" id="{608BF39B-6EC6-43B7-AE7F-DAABF466BA9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19175" y="2821110"/>
            <a:ext cx="2519405" cy="1614737"/>
          </a:xfrm>
          <a:prstGeom prst="rect">
            <a:avLst/>
          </a:prstGeom>
        </p:spPr>
        <p:txBody>
          <a:bodyPr/>
          <a:lstStyle>
            <a:lvl1pPr marL="0" indent="-172800">
              <a:lnSpc>
                <a:spcPct val="112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176213" indent="-172800">
              <a:lnSpc>
                <a:spcPct val="112000"/>
              </a:lnSpc>
              <a:spcBef>
                <a:spcPts val="0"/>
              </a:spcBef>
              <a:spcAft>
                <a:spcPts val="201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000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358775" indent="-172800">
              <a:lnSpc>
                <a:spcPct val="112000"/>
              </a:lnSpc>
              <a:spcBef>
                <a:spcPts val="0"/>
              </a:spcBef>
              <a:spcAft>
                <a:spcPts val="201"/>
              </a:spcAft>
              <a:defRPr sz="1000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541338" indent="-172800">
              <a:lnSpc>
                <a:spcPct val="112000"/>
              </a:lnSpc>
              <a:spcBef>
                <a:spcPts val="0"/>
              </a:spcBef>
              <a:spcAft>
                <a:spcPts val="201"/>
              </a:spcAft>
              <a:buSzPct val="100000"/>
              <a:defRPr sz="1000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715963" indent="-172800">
              <a:lnSpc>
                <a:spcPct val="112000"/>
              </a:lnSpc>
              <a:spcBef>
                <a:spcPts val="0"/>
              </a:spcBef>
              <a:spcAft>
                <a:spcPts val="201"/>
              </a:spcAft>
              <a:buSzPct val="100000"/>
              <a:defRPr sz="1000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marL="898525" indent="-172800">
              <a:lnSpc>
                <a:spcPct val="112000"/>
              </a:lnSpc>
              <a:spcBef>
                <a:spcPts val="0"/>
              </a:spcBef>
              <a:spcAft>
                <a:spcPts val="201"/>
              </a:spcAft>
              <a:buClr>
                <a:schemeClr val="tx2"/>
              </a:buClr>
              <a:defRPr sz="1000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6pPr>
            <a:lvl7pPr marL="1074738" indent="-172800">
              <a:lnSpc>
                <a:spcPct val="112000"/>
              </a:lnSpc>
              <a:spcBef>
                <a:spcPts val="0"/>
              </a:spcBef>
              <a:spcAft>
                <a:spcPts val="201"/>
              </a:spcAft>
              <a:buClr>
                <a:schemeClr val="tx2"/>
              </a:buClr>
              <a:defRPr sz="1000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7pPr>
            <a:lvl8pPr marL="1265238" indent="-172800">
              <a:lnSpc>
                <a:spcPct val="112000"/>
              </a:lnSpc>
              <a:spcBef>
                <a:spcPts val="0"/>
              </a:spcBef>
              <a:spcAft>
                <a:spcPts val="201"/>
              </a:spcAft>
              <a:buClr>
                <a:schemeClr val="tx2"/>
              </a:buClr>
              <a:defRPr sz="1000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8pPr>
          </a:lstStyle>
          <a:p>
            <a:pPr lvl="0"/>
            <a:r>
              <a:rPr lang="nl-NL" dirty="0"/>
              <a:t>Klik om te bewerken</a:t>
            </a:r>
          </a:p>
          <a:p>
            <a:pPr lvl="1"/>
            <a:r>
              <a:rPr lang="nl-NL" dirty="0"/>
              <a:t>Niveau 1</a:t>
            </a:r>
          </a:p>
          <a:p>
            <a:pPr lvl="2"/>
            <a:r>
              <a:rPr lang="nl-NL" dirty="0"/>
              <a:t>Niveau 2</a:t>
            </a:r>
          </a:p>
          <a:p>
            <a:pPr lvl="3"/>
            <a:r>
              <a:rPr lang="nl-NL" dirty="0"/>
              <a:t>Niveau 3</a:t>
            </a:r>
          </a:p>
          <a:p>
            <a:pPr lvl="4"/>
            <a:r>
              <a:rPr lang="nl-NL" dirty="0"/>
              <a:t>Niveau 4</a:t>
            </a:r>
          </a:p>
          <a:p>
            <a:pPr lvl="5"/>
            <a:r>
              <a:rPr lang="nl-NL" dirty="0"/>
              <a:t>Niveau 5</a:t>
            </a:r>
          </a:p>
          <a:p>
            <a:pPr lvl="6"/>
            <a:r>
              <a:rPr lang="nl-NL" dirty="0"/>
              <a:t>Niveau 6</a:t>
            </a:r>
          </a:p>
          <a:p>
            <a:pPr lvl="7"/>
            <a:r>
              <a:rPr lang="nl-NL" dirty="0"/>
              <a:t>Niveau 7</a:t>
            </a:r>
          </a:p>
        </p:txBody>
      </p:sp>
      <p:sp>
        <p:nvSpPr>
          <p:cNvPr id="12" name="Tijdelijke aanduiding voor dianummer 3">
            <a:extLst>
              <a:ext uri="{FF2B5EF4-FFF2-40B4-BE49-F238E27FC236}">
                <a16:creationId xmlns:a16="http://schemas.microsoft.com/office/drawing/2014/main" id="{1B8B6EEE-E40A-4443-B526-74D1AE9EE6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485514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E95E579-9790-4F95-8FB3-3D158C32A7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911269"/>
            <a:ext cx="8999769" cy="2170588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>
              <a:buClr>
                <a:schemeClr val="tx2"/>
              </a:buClr>
              <a:defRPr b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9EB20CD4-7D6E-420E-94BC-30586165C5DF}"/>
              </a:ext>
            </a:extLst>
          </p:cNvPr>
          <p:cNvSpPr/>
          <p:nvPr userDrawn="1"/>
        </p:nvSpPr>
        <p:spPr>
          <a:xfrm>
            <a:off x="3817597" y="389479"/>
            <a:ext cx="1364345" cy="162720"/>
          </a:xfrm>
          <a:custGeom>
            <a:avLst/>
            <a:gdLst>
              <a:gd name="connsiteX0" fmla="*/ 57578 w 1364344"/>
              <a:gd name="connsiteY0" fmla="*/ 3755 h 162719"/>
              <a:gd name="connsiteX1" fmla="*/ 100135 w 1364344"/>
              <a:gd name="connsiteY1" fmla="*/ 42557 h 162719"/>
              <a:gd name="connsiteX2" fmla="*/ 57578 w 1364344"/>
              <a:gd name="connsiteY2" fmla="*/ 82612 h 162719"/>
              <a:gd name="connsiteX3" fmla="*/ 23782 w 1364344"/>
              <a:gd name="connsiteY3" fmla="*/ 82612 h 162719"/>
              <a:gd name="connsiteX4" fmla="*/ 23782 w 1364344"/>
              <a:gd name="connsiteY4" fmla="*/ 135183 h 162719"/>
              <a:gd name="connsiteX5" fmla="*/ 0 w 1364344"/>
              <a:gd name="connsiteY5" fmla="*/ 135183 h 162719"/>
              <a:gd name="connsiteX6" fmla="*/ 0 w 1364344"/>
              <a:gd name="connsiteY6" fmla="*/ 3755 h 162719"/>
              <a:gd name="connsiteX7" fmla="*/ 57578 w 1364344"/>
              <a:gd name="connsiteY7" fmla="*/ 3755 h 162719"/>
              <a:gd name="connsiteX8" fmla="*/ 56326 w 1364344"/>
              <a:gd name="connsiteY8" fmla="*/ 61333 h 162719"/>
              <a:gd name="connsiteX9" fmla="*/ 73850 w 1364344"/>
              <a:gd name="connsiteY9" fmla="*/ 43809 h 162719"/>
              <a:gd name="connsiteX10" fmla="*/ 56326 w 1364344"/>
              <a:gd name="connsiteY10" fmla="*/ 26285 h 162719"/>
              <a:gd name="connsiteX11" fmla="*/ 23782 w 1364344"/>
              <a:gd name="connsiteY11" fmla="*/ 26285 h 162719"/>
              <a:gd name="connsiteX12" fmla="*/ 23782 w 1364344"/>
              <a:gd name="connsiteY12" fmla="*/ 61333 h 162719"/>
              <a:gd name="connsiteX13" fmla="*/ 56326 w 1364344"/>
              <a:gd name="connsiteY13" fmla="*/ 61333 h 162719"/>
              <a:gd name="connsiteX14" fmla="*/ 215291 w 1364344"/>
              <a:gd name="connsiteY14" fmla="*/ 112652 h 162719"/>
              <a:gd name="connsiteX15" fmla="*/ 215291 w 1364344"/>
              <a:gd name="connsiteY15" fmla="*/ 135183 h 162719"/>
              <a:gd name="connsiteX16" fmla="*/ 131428 w 1364344"/>
              <a:gd name="connsiteY16" fmla="*/ 135183 h 162719"/>
              <a:gd name="connsiteX17" fmla="*/ 131428 w 1364344"/>
              <a:gd name="connsiteY17" fmla="*/ 3755 h 162719"/>
              <a:gd name="connsiteX18" fmla="*/ 215291 w 1364344"/>
              <a:gd name="connsiteY18" fmla="*/ 3755 h 162719"/>
              <a:gd name="connsiteX19" fmla="*/ 215291 w 1364344"/>
              <a:gd name="connsiteY19" fmla="*/ 25034 h 162719"/>
              <a:gd name="connsiteX20" fmla="*/ 156462 w 1364344"/>
              <a:gd name="connsiteY20" fmla="*/ 25034 h 162719"/>
              <a:gd name="connsiteX21" fmla="*/ 156462 w 1364344"/>
              <a:gd name="connsiteY21" fmla="*/ 57578 h 162719"/>
              <a:gd name="connsiteX22" fmla="*/ 204026 w 1364344"/>
              <a:gd name="connsiteY22" fmla="*/ 57578 h 162719"/>
              <a:gd name="connsiteX23" fmla="*/ 204026 w 1364344"/>
              <a:gd name="connsiteY23" fmla="*/ 78856 h 162719"/>
              <a:gd name="connsiteX24" fmla="*/ 156462 w 1364344"/>
              <a:gd name="connsiteY24" fmla="*/ 78856 h 162719"/>
              <a:gd name="connsiteX25" fmla="*/ 156462 w 1364344"/>
              <a:gd name="connsiteY25" fmla="*/ 112652 h 162719"/>
              <a:gd name="connsiteX26" fmla="*/ 215291 w 1364344"/>
              <a:gd name="connsiteY26" fmla="*/ 112652 h 162719"/>
              <a:gd name="connsiteX27" fmla="*/ 282882 w 1364344"/>
              <a:gd name="connsiteY27" fmla="*/ 112652 h 162719"/>
              <a:gd name="connsiteX28" fmla="*/ 336705 w 1364344"/>
              <a:gd name="connsiteY28" fmla="*/ 112652 h 162719"/>
              <a:gd name="connsiteX29" fmla="*/ 336705 w 1364344"/>
              <a:gd name="connsiteY29" fmla="*/ 135183 h 162719"/>
              <a:gd name="connsiteX30" fmla="*/ 259100 w 1364344"/>
              <a:gd name="connsiteY30" fmla="*/ 135183 h 162719"/>
              <a:gd name="connsiteX31" fmla="*/ 259100 w 1364344"/>
              <a:gd name="connsiteY31" fmla="*/ 3755 h 162719"/>
              <a:gd name="connsiteX32" fmla="*/ 282882 w 1364344"/>
              <a:gd name="connsiteY32" fmla="*/ 3755 h 162719"/>
              <a:gd name="connsiteX33" fmla="*/ 282882 w 1364344"/>
              <a:gd name="connsiteY33" fmla="*/ 112652 h 162719"/>
              <a:gd name="connsiteX34" fmla="*/ 404297 w 1364344"/>
              <a:gd name="connsiteY34" fmla="*/ 137686 h 162719"/>
              <a:gd name="connsiteX35" fmla="*/ 357984 w 1364344"/>
              <a:gd name="connsiteY35" fmla="*/ 101387 h 162719"/>
              <a:gd name="connsiteX36" fmla="*/ 381766 w 1364344"/>
              <a:gd name="connsiteY36" fmla="*/ 95128 h 162719"/>
              <a:gd name="connsiteX37" fmla="*/ 405548 w 1364344"/>
              <a:gd name="connsiteY37" fmla="*/ 115155 h 162719"/>
              <a:gd name="connsiteX38" fmla="*/ 424324 w 1364344"/>
              <a:gd name="connsiteY38" fmla="*/ 100135 h 162719"/>
              <a:gd name="connsiteX39" fmla="*/ 401793 w 1364344"/>
              <a:gd name="connsiteY39" fmla="*/ 80108 h 162719"/>
              <a:gd name="connsiteX40" fmla="*/ 362991 w 1364344"/>
              <a:gd name="connsiteY40" fmla="*/ 40054 h 162719"/>
              <a:gd name="connsiteX41" fmla="*/ 403045 w 1364344"/>
              <a:gd name="connsiteY41" fmla="*/ 1252 h 162719"/>
              <a:gd name="connsiteX42" fmla="*/ 443099 w 1364344"/>
              <a:gd name="connsiteY42" fmla="*/ 26285 h 162719"/>
              <a:gd name="connsiteX43" fmla="*/ 421820 w 1364344"/>
              <a:gd name="connsiteY43" fmla="*/ 36299 h 162719"/>
              <a:gd name="connsiteX44" fmla="*/ 404297 w 1364344"/>
              <a:gd name="connsiteY44" fmla="*/ 23782 h 162719"/>
              <a:gd name="connsiteX45" fmla="*/ 388025 w 1364344"/>
              <a:gd name="connsiteY45" fmla="*/ 38802 h 162719"/>
              <a:gd name="connsiteX46" fmla="*/ 409303 w 1364344"/>
              <a:gd name="connsiteY46" fmla="*/ 58829 h 162719"/>
              <a:gd name="connsiteX47" fmla="*/ 448106 w 1364344"/>
              <a:gd name="connsiteY47" fmla="*/ 98884 h 162719"/>
              <a:gd name="connsiteX48" fmla="*/ 404297 w 1364344"/>
              <a:gd name="connsiteY48" fmla="*/ 137686 h 162719"/>
              <a:gd name="connsiteX49" fmla="*/ 628350 w 1364344"/>
              <a:gd name="connsiteY49" fmla="*/ 135183 h 162719"/>
              <a:gd name="connsiteX50" fmla="*/ 597057 w 1364344"/>
              <a:gd name="connsiteY50" fmla="*/ 82612 h 162719"/>
              <a:gd name="connsiteX51" fmla="*/ 573275 w 1364344"/>
              <a:gd name="connsiteY51" fmla="*/ 82612 h 162719"/>
              <a:gd name="connsiteX52" fmla="*/ 573275 w 1364344"/>
              <a:gd name="connsiteY52" fmla="*/ 135183 h 162719"/>
              <a:gd name="connsiteX53" fmla="*/ 549493 w 1364344"/>
              <a:gd name="connsiteY53" fmla="*/ 135183 h 162719"/>
              <a:gd name="connsiteX54" fmla="*/ 549493 w 1364344"/>
              <a:gd name="connsiteY54" fmla="*/ 3755 h 162719"/>
              <a:gd name="connsiteX55" fmla="*/ 607071 w 1364344"/>
              <a:gd name="connsiteY55" fmla="*/ 3755 h 162719"/>
              <a:gd name="connsiteX56" fmla="*/ 648377 w 1364344"/>
              <a:gd name="connsiteY56" fmla="*/ 41306 h 162719"/>
              <a:gd name="connsiteX57" fmla="*/ 620839 w 1364344"/>
              <a:gd name="connsiteY57" fmla="*/ 76353 h 162719"/>
              <a:gd name="connsiteX58" fmla="*/ 657138 w 1364344"/>
              <a:gd name="connsiteY58" fmla="*/ 135183 h 162719"/>
              <a:gd name="connsiteX59" fmla="*/ 628350 w 1364344"/>
              <a:gd name="connsiteY59" fmla="*/ 135183 h 162719"/>
              <a:gd name="connsiteX60" fmla="*/ 622091 w 1364344"/>
              <a:gd name="connsiteY60" fmla="*/ 42557 h 162719"/>
              <a:gd name="connsiteX61" fmla="*/ 603316 w 1364344"/>
              <a:gd name="connsiteY61" fmla="*/ 26285 h 162719"/>
              <a:gd name="connsiteX62" fmla="*/ 573275 w 1364344"/>
              <a:gd name="connsiteY62" fmla="*/ 26285 h 162719"/>
              <a:gd name="connsiteX63" fmla="*/ 573275 w 1364344"/>
              <a:gd name="connsiteY63" fmla="*/ 61333 h 162719"/>
              <a:gd name="connsiteX64" fmla="*/ 602064 w 1364344"/>
              <a:gd name="connsiteY64" fmla="*/ 61333 h 162719"/>
              <a:gd name="connsiteX65" fmla="*/ 622091 w 1364344"/>
              <a:gd name="connsiteY65" fmla="*/ 42557 h 162719"/>
              <a:gd name="connsiteX66" fmla="*/ 720975 w 1364344"/>
              <a:gd name="connsiteY66" fmla="*/ 135183 h 162719"/>
              <a:gd name="connsiteX67" fmla="*/ 695941 w 1364344"/>
              <a:gd name="connsiteY67" fmla="*/ 135183 h 162719"/>
              <a:gd name="connsiteX68" fmla="*/ 695941 w 1364344"/>
              <a:gd name="connsiteY68" fmla="*/ 3755 h 162719"/>
              <a:gd name="connsiteX69" fmla="*/ 720975 w 1364344"/>
              <a:gd name="connsiteY69" fmla="*/ 3755 h 162719"/>
              <a:gd name="connsiteX70" fmla="*/ 720975 w 1364344"/>
              <a:gd name="connsiteY70" fmla="*/ 135183 h 162719"/>
              <a:gd name="connsiteX71" fmla="*/ 794825 w 1364344"/>
              <a:gd name="connsiteY71" fmla="*/ 168978 h 162719"/>
              <a:gd name="connsiteX72" fmla="*/ 769791 w 1364344"/>
              <a:gd name="connsiteY72" fmla="*/ 168978 h 162719"/>
              <a:gd name="connsiteX73" fmla="*/ 769791 w 1364344"/>
              <a:gd name="connsiteY73" fmla="*/ 37551 h 162719"/>
              <a:gd name="connsiteX74" fmla="*/ 794825 w 1364344"/>
              <a:gd name="connsiteY74" fmla="*/ 37551 h 162719"/>
              <a:gd name="connsiteX75" fmla="*/ 794825 w 1364344"/>
              <a:gd name="connsiteY75" fmla="*/ 168978 h 162719"/>
              <a:gd name="connsiteX76" fmla="*/ 897463 w 1364344"/>
              <a:gd name="connsiteY76" fmla="*/ 137686 h 162719"/>
              <a:gd name="connsiteX77" fmla="*/ 836131 w 1364344"/>
              <a:gd name="connsiteY77" fmla="*/ 68843 h 162719"/>
              <a:gd name="connsiteX78" fmla="*/ 897463 w 1364344"/>
              <a:gd name="connsiteY78" fmla="*/ 0 h 162719"/>
              <a:gd name="connsiteX79" fmla="*/ 948783 w 1364344"/>
              <a:gd name="connsiteY79" fmla="*/ 36299 h 162719"/>
              <a:gd name="connsiteX80" fmla="*/ 926252 w 1364344"/>
              <a:gd name="connsiteY80" fmla="*/ 45061 h 162719"/>
              <a:gd name="connsiteX81" fmla="*/ 897463 w 1364344"/>
              <a:gd name="connsiteY81" fmla="*/ 23782 h 162719"/>
              <a:gd name="connsiteX82" fmla="*/ 861164 w 1364344"/>
              <a:gd name="connsiteY82" fmla="*/ 68843 h 162719"/>
              <a:gd name="connsiteX83" fmla="*/ 897463 w 1364344"/>
              <a:gd name="connsiteY83" fmla="*/ 113904 h 162719"/>
              <a:gd name="connsiteX84" fmla="*/ 932511 w 1364344"/>
              <a:gd name="connsiteY84" fmla="*/ 87618 h 162719"/>
              <a:gd name="connsiteX85" fmla="*/ 953790 w 1364344"/>
              <a:gd name="connsiteY85" fmla="*/ 98884 h 162719"/>
              <a:gd name="connsiteX86" fmla="*/ 897463 w 1364344"/>
              <a:gd name="connsiteY86" fmla="*/ 137686 h 162719"/>
              <a:gd name="connsiteX87" fmla="*/ 1048918 w 1364344"/>
              <a:gd name="connsiteY87" fmla="*/ 53823 h 162719"/>
              <a:gd name="connsiteX88" fmla="*/ 1100238 w 1364344"/>
              <a:gd name="connsiteY88" fmla="*/ 135183 h 162719"/>
              <a:gd name="connsiteX89" fmla="*/ 1068945 w 1364344"/>
              <a:gd name="connsiteY89" fmla="*/ 135183 h 162719"/>
              <a:gd name="connsiteX90" fmla="*/ 1028891 w 1364344"/>
              <a:gd name="connsiteY90" fmla="*/ 71346 h 162719"/>
              <a:gd name="connsiteX91" fmla="*/ 1013871 w 1364344"/>
              <a:gd name="connsiteY91" fmla="*/ 86367 h 162719"/>
              <a:gd name="connsiteX92" fmla="*/ 1013871 w 1364344"/>
              <a:gd name="connsiteY92" fmla="*/ 135183 h 162719"/>
              <a:gd name="connsiteX93" fmla="*/ 990089 w 1364344"/>
              <a:gd name="connsiteY93" fmla="*/ 135183 h 162719"/>
              <a:gd name="connsiteX94" fmla="*/ 990089 w 1364344"/>
              <a:gd name="connsiteY94" fmla="*/ 3755 h 162719"/>
              <a:gd name="connsiteX95" fmla="*/ 1013871 w 1364344"/>
              <a:gd name="connsiteY95" fmla="*/ 3755 h 162719"/>
              <a:gd name="connsiteX96" fmla="*/ 1013871 w 1364344"/>
              <a:gd name="connsiteY96" fmla="*/ 56326 h 162719"/>
              <a:gd name="connsiteX97" fmla="*/ 1067694 w 1364344"/>
              <a:gd name="connsiteY97" fmla="*/ 3755 h 162719"/>
              <a:gd name="connsiteX98" fmla="*/ 1102741 w 1364344"/>
              <a:gd name="connsiteY98" fmla="*/ 3755 h 162719"/>
              <a:gd name="connsiteX99" fmla="*/ 1048918 w 1364344"/>
              <a:gd name="connsiteY99" fmla="*/ 53823 h 162719"/>
              <a:gd name="connsiteX100" fmla="*/ 1219148 w 1364344"/>
              <a:gd name="connsiteY100" fmla="*/ 112652 h 162719"/>
              <a:gd name="connsiteX101" fmla="*/ 1219148 w 1364344"/>
              <a:gd name="connsiteY101" fmla="*/ 135183 h 162719"/>
              <a:gd name="connsiteX102" fmla="*/ 1135285 w 1364344"/>
              <a:gd name="connsiteY102" fmla="*/ 135183 h 162719"/>
              <a:gd name="connsiteX103" fmla="*/ 1135285 w 1364344"/>
              <a:gd name="connsiteY103" fmla="*/ 3755 h 162719"/>
              <a:gd name="connsiteX104" fmla="*/ 1219148 w 1364344"/>
              <a:gd name="connsiteY104" fmla="*/ 3755 h 162719"/>
              <a:gd name="connsiteX105" fmla="*/ 1219148 w 1364344"/>
              <a:gd name="connsiteY105" fmla="*/ 25034 h 162719"/>
              <a:gd name="connsiteX106" fmla="*/ 1160319 w 1364344"/>
              <a:gd name="connsiteY106" fmla="*/ 25034 h 162719"/>
              <a:gd name="connsiteX107" fmla="*/ 1160319 w 1364344"/>
              <a:gd name="connsiteY107" fmla="*/ 57578 h 162719"/>
              <a:gd name="connsiteX108" fmla="*/ 1207883 w 1364344"/>
              <a:gd name="connsiteY108" fmla="*/ 57578 h 162719"/>
              <a:gd name="connsiteX109" fmla="*/ 1207883 w 1364344"/>
              <a:gd name="connsiteY109" fmla="*/ 78856 h 162719"/>
              <a:gd name="connsiteX110" fmla="*/ 1160319 w 1364344"/>
              <a:gd name="connsiteY110" fmla="*/ 78856 h 162719"/>
              <a:gd name="connsiteX111" fmla="*/ 1160319 w 1364344"/>
              <a:gd name="connsiteY111" fmla="*/ 112652 h 162719"/>
              <a:gd name="connsiteX112" fmla="*/ 1219148 w 1364344"/>
              <a:gd name="connsiteY112" fmla="*/ 112652 h 162719"/>
              <a:gd name="connsiteX113" fmla="*/ 1262958 w 1364344"/>
              <a:gd name="connsiteY113" fmla="*/ 135183 h 162719"/>
              <a:gd name="connsiteX114" fmla="*/ 1262958 w 1364344"/>
              <a:gd name="connsiteY114" fmla="*/ 3755 h 162719"/>
              <a:gd name="connsiteX115" fmla="*/ 1285488 w 1364344"/>
              <a:gd name="connsiteY115" fmla="*/ 3755 h 162719"/>
              <a:gd name="connsiteX116" fmla="*/ 1343066 w 1364344"/>
              <a:gd name="connsiteY116" fmla="*/ 86367 h 162719"/>
              <a:gd name="connsiteX117" fmla="*/ 1343066 w 1364344"/>
              <a:gd name="connsiteY117" fmla="*/ 3755 h 162719"/>
              <a:gd name="connsiteX118" fmla="*/ 1368100 w 1364344"/>
              <a:gd name="connsiteY118" fmla="*/ 3755 h 162719"/>
              <a:gd name="connsiteX119" fmla="*/ 1368100 w 1364344"/>
              <a:gd name="connsiteY119" fmla="*/ 135183 h 162719"/>
              <a:gd name="connsiteX120" fmla="*/ 1345569 w 1364344"/>
              <a:gd name="connsiteY120" fmla="*/ 135183 h 162719"/>
              <a:gd name="connsiteX121" fmla="*/ 1287991 w 1364344"/>
              <a:gd name="connsiteY121" fmla="*/ 52571 h 162719"/>
              <a:gd name="connsiteX122" fmla="*/ 1287991 w 1364344"/>
              <a:gd name="connsiteY122" fmla="*/ 135183 h 162719"/>
              <a:gd name="connsiteX123" fmla="*/ 1262958 w 1364344"/>
              <a:gd name="connsiteY123" fmla="*/ 135183 h 16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364344" h="162719">
                <a:moveTo>
                  <a:pt x="57578" y="3755"/>
                </a:moveTo>
                <a:cubicBezTo>
                  <a:pt x="85115" y="3755"/>
                  <a:pt x="100135" y="23782"/>
                  <a:pt x="100135" y="42557"/>
                </a:cubicBezTo>
                <a:cubicBezTo>
                  <a:pt x="100135" y="62585"/>
                  <a:pt x="86367" y="82612"/>
                  <a:pt x="57578" y="82612"/>
                </a:cubicBezTo>
                <a:lnTo>
                  <a:pt x="23782" y="82612"/>
                </a:lnTo>
                <a:lnTo>
                  <a:pt x="23782" y="135183"/>
                </a:lnTo>
                <a:lnTo>
                  <a:pt x="0" y="135183"/>
                </a:lnTo>
                <a:lnTo>
                  <a:pt x="0" y="3755"/>
                </a:lnTo>
                <a:lnTo>
                  <a:pt x="57578" y="3755"/>
                </a:lnTo>
                <a:close/>
                <a:moveTo>
                  <a:pt x="56326" y="61333"/>
                </a:moveTo>
                <a:cubicBezTo>
                  <a:pt x="68843" y="61333"/>
                  <a:pt x="73850" y="52571"/>
                  <a:pt x="73850" y="43809"/>
                </a:cubicBezTo>
                <a:cubicBezTo>
                  <a:pt x="73850" y="35047"/>
                  <a:pt x="67591" y="26285"/>
                  <a:pt x="56326" y="26285"/>
                </a:cubicBezTo>
                <a:lnTo>
                  <a:pt x="23782" y="26285"/>
                </a:lnTo>
                <a:lnTo>
                  <a:pt x="23782" y="61333"/>
                </a:lnTo>
                <a:lnTo>
                  <a:pt x="56326" y="61333"/>
                </a:lnTo>
                <a:close/>
                <a:moveTo>
                  <a:pt x="215291" y="112652"/>
                </a:moveTo>
                <a:lnTo>
                  <a:pt x="215291" y="135183"/>
                </a:lnTo>
                <a:lnTo>
                  <a:pt x="131428" y="135183"/>
                </a:lnTo>
                <a:lnTo>
                  <a:pt x="131428" y="3755"/>
                </a:lnTo>
                <a:lnTo>
                  <a:pt x="215291" y="3755"/>
                </a:lnTo>
                <a:lnTo>
                  <a:pt x="215291" y="25034"/>
                </a:lnTo>
                <a:lnTo>
                  <a:pt x="156462" y="25034"/>
                </a:lnTo>
                <a:lnTo>
                  <a:pt x="156462" y="57578"/>
                </a:lnTo>
                <a:lnTo>
                  <a:pt x="204026" y="57578"/>
                </a:lnTo>
                <a:lnTo>
                  <a:pt x="204026" y="78856"/>
                </a:lnTo>
                <a:lnTo>
                  <a:pt x="156462" y="78856"/>
                </a:lnTo>
                <a:lnTo>
                  <a:pt x="156462" y="112652"/>
                </a:lnTo>
                <a:lnTo>
                  <a:pt x="215291" y="112652"/>
                </a:lnTo>
                <a:close/>
                <a:moveTo>
                  <a:pt x="282882" y="112652"/>
                </a:moveTo>
                <a:lnTo>
                  <a:pt x="336705" y="112652"/>
                </a:lnTo>
                <a:lnTo>
                  <a:pt x="336705" y="135183"/>
                </a:lnTo>
                <a:lnTo>
                  <a:pt x="259100" y="135183"/>
                </a:lnTo>
                <a:lnTo>
                  <a:pt x="259100" y="3755"/>
                </a:lnTo>
                <a:lnTo>
                  <a:pt x="282882" y="3755"/>
                </a:lnTo>
                <a:lnTo>
                  <a:pt x="282882" y="112652"/>
                </a:lnTo>
                <a:close/>
                <a:moveTo>
                  <a:pt x="404297" y="137686"/>
                </a:moveTo>
                <a:cubicBezTo>
                  <a:pt x="383018" y="137686"/>
                  <a:pt x="361739" y="125169"/>
                  <a:pt x="357984" y="101387"/>
                </a:cubicBezTo>
                <a:lnTo>
                  <a:pt x="381766" y="95128"/>
                </a:lnTo>
                <a:cubicBezTo>
                  <a:pt x="383018" y="108897"/>
                  <a:pt x="394283" y="115155"/>
                  <a:pt x="405548" y="115155"/>
                </a:cubicBezTo>
                <a:cubicBezTo>
                  <a:pt x="415562" y="115155"/>
                  <a:pt x="424324" y="110149"/>
                  <a:pt x="424324" y="100135"/>
                </a:cubicBezTo>
                <a:cubicBezTo>
                  <a:pt x="424324" y="88870"/>
                  <a:pt x="414310" y="85115"/>
                  <a:pt x="401793" y="80108"/>
                </a:cubicBezTo>
                <a:cubicBezTo>
                  <a:pt x="384270" y="73850"/>
                  <a:pt x="362991" y="66340"/>
                  <a:pt x="362991" y="40054"/>
                </a:cubicBezTo>
                <a:cubicBezTo>
                  <a:pt x="362991" y="13769"/>
                  <a:pt x="383018" y="1252"/>
                  <a:pt x="403045" y="1252"/>
                </a:cubicBezTo>
                <a:cubicBezTo>
                  <a:pt x="419317" y="1252"/>
                  <a:pt x="436841" y="8762"/>
                  <a:pt x="443099" y="26285"/>
                </a:cubicBezTo>
                <a:lnTo>
                  <a:pt x="421820" y="36299"/>
                </a:lnTo>
                <a:cubicBezTo>
                  <a:pt x="419317" y="27537"/>
                  <a:pt x="410555" y="23782"/>
                  <a:pt x="404297" y="23782"/>
                </a:cubicBezTo>
                <a:cubicBezTo>
                  <a:pt x="395535" y="23782"/>
                  <a:pt x="388025" y="28789"/>
                  <a:pt x="388025" y="38802"/>
                </a:cubicBezTo>
                <a:cubicBezTo>
                  <a:pt x="388025" y="48816"/>
                  <a:pt x="398038" y="53823"/>
                  <a:pt x="409303" y="58829"/>
                </a:cubicBezTo>
                <a:cubicBezTo>
                  <a:pt x="426827" y="65088"/>
                  <a:pt x="448106" y="71346"/>
                  <a:pt x="448106" y="98884"/>
                </a:cubicBezTo>
                <a:cubicBezTo>
                  <a:pt x="448106" y="123917"/>
                  <a:pt x="425575" y="137686"/>
                  <a:pt x="404297" y="137686"/>
                </a:cubicBezTo>
                <a:close/>
                <a:moveTo>
                  <a:pt x="628350" y="135183"/>
                </a:moveTo>
                <a:lnTo>
                  <a:pt x="597057" y="82612"/>
                </a:lnTo>
                <a:lnTo>
                  <a:pt x="573275" y="82612"/>
                </a:lnTo>
                <a:lnTo>
                  <a:pt x="573275" y="135183"/>
                </a:lnTo>
                <a:lnTo>
                  <a:pt x="549493" y="135183"/>
                </a:lnTo>
                <a:lnTo>
                  <a:pt x="549493" y="3755"/>
                </a:lnTo>
                <a:lnTo>
                  <a:pt x="607071" y="3755"/>
                </a:lnTo>
                <a:cubicBezTo>
                  <a:pt x="634608" y="3755"/>
                  <a:pt x="648377" y="22530"/>
                  <a:pt x="648377" y="41306"/>
                </a:cubicBezTo>
                <a:cubicBezTo>
                  <a:pt x="648377" y="56326"/>
                  <a:pt x="638363" y="71346"/>
                  <a:pt x="620839" y="76353"/>
                </a:cubicBezTo>
                <a:lnTo>
                  <a:pt x="657138" y="135183"/>
                </a:lnTo>
                <a:lnTo>
                  <a:pt x="628350" y="135183"/>
                </a:lnTo>
                <a:close/>
                <a:moveTo>
                  <a:pt x="622091" y="42557"/>
                </a:moveTo>
                <a:cubicBezTo>
                  <a:pt x="622091" y="33796"/>
                  <a:pt x="615833" y="26285"/>
                  <a:pt x="603316" y="26285"/>
                </a:cubicBezTo>
                <a:lnTo>
                  <a:pt x="573275" y="26285"/>
                </a:lnTo>
                <a:lnTo>
                  <a:pt x="573275" y="61333"/>
                </a:lnTo>
                <a:lnTo>
                  <a:pt x="602064" y="61333"/>
                </a:lnTo>
                <a:cubicBezTo>
                  <a:pt x="614581" y="61333"/>
                  <a:pt x="622091" y="51319"/>
                  <a:pt x="622091" y="42557"/>
                </a:cubicBezTo>
                <a:close/>
                <a:moveTo>
                  <a:pt x="720975" y="135183"/>
                </a:moveTo>
                <a:lnTo>
                  <a:pt x="695941" y="135183"/>
                </a:lnTo>
                <a:lnTo>
                  <a:pt x="695941" y="3755"/>
                </a:lnTo>
                <a:lnTo>
                  <a:pt x="720975" y="3755"/>
                </a:lnTo>
                <a:lnTo>
                  <a:pt x="720975" y="135183"/>
                </a:lnTo>
                <a:close/>
                <a:moveTo>
                  <a:pt x="794825" y="168978"/>
                </a:moveTo>
                <a:lnTo>
                  <a:pt x="769791" y="168978"/>
                </a:lnTo>
                <a:lnTo>
                  <a:pt x="769791" y="37551"/>
                </a:lnTo>
                <a:lnTo>
                  <a:pt x="794825" y="37551"/>
                </a:lnTo>
                <a:lnTo>
                  <a:pt x="794825" y="168978"/>
                </a:lnTo>
                <a:close/>
                <a:moveTo>
                  <a:pt x="897463" y="137686"/>
                </a:moveTo>
                <a:cubicBezTo>
                  <a:pt x="867423" y="137686"/>
                  <a:pt x="836131" y="115155"/>
                  <a:pt x="836131" y="68843"/>
                </a:cubicBezTo>
                <a:cubicBezTo>
                  <a:pt x="836131" y="22530"/>
                  <a:pt x="867423" y="0"/>
                  <a:pt x="897463" y="0"/>
                </a:cubicBezTo>
                <a:cubicBezTo>
                  <a:pt x="919994" y="0"/>
                  <a:pt x="941273" y="12517"/>
                  <a:pt x="948783" y="36299"/>
                </a:cubicBezTo>
                <a:lnTo>
                  <a:pt x="926252" y="45061"/>
                </a:lnTo>
                <a:cubicBezTo>
                  <a:pt x="922497" y="31292"/>
                  <a:pt x="909980" y="23782"/>
                  <a:pt x="897463" y="23782"/>
                </a:cubicBezTo>
                <a:cubicBezTo>
                  <a:pt x="879940" y="23782"/>
                  <a:pt x="861164" y="37551"/>
                  <a:pt x="861164" y="68843"/>
                </a:cubicBezTo>
                <a:cubicBezTo>
                  <a:pt x="861164" y="98884"/>
                  <a:pt x="878688" y="113904"/>
                  <a:pt x="897463" y="113904"/>
                </a:cubicBezTo>
                <a:cubicBezTo>
                  <a:pt x="912484" y="113904"/>
                  <a:pt x="927504" y="105142"/>
                  <a:pt x="932511" y="87618"/>
                </a:cubicBezTo>
                <a:lnTo>
                  <a:pt x="953790" y="98884"/>
                </a:lnTo>
                <a:cubicBezTo>
                  <a:pt x="945028" y="125169"/>
                  <a:pt x="921246" y="137686"/>
                  <a:pt x="897463" y="137686"/>
                </a:cubicBezTo>
                <a:close/>
                <a:moveTo>
                  <a:pt x="1048918" y="53823"/>
                </a:moveTo>
                <a:lnTo>
                  <a:pt x="1100238" y="135183"/>
                </a:lnTo>
                <a:lnTo>
                  <a:pt x="1068945" y="135183"/>
                </a:lnTo>
                <a:lnTo>
                  <a:pt x="1028891" y="71346"/>
                </a:lnTo>
                <a:lnTo>
                  <a:pt x="1013871" y="86367"/>
                </a:lnTo>
                <a:lnTo>
                  <a:pt x="1013871" y="135183"/>
                </a:lnTo>
                <a:lnTo>
                  <a:pt x="990089" y="135183"/>
                </a:lnTo>
                <a:lnTo>
                  <a:pt x="990089" y="3755"/>
                </a:lnTo>
                <a:lnTo>
                  <a:pt x="1013871" y="3755"/>
                </a:lnTo>
                <a:lnTo>
                  <a:pt x="1013871" y="56326"/>
                </a:lnTo>
                <a:lnTo>
                  <a:pt x="1067694" y="3755"/>
                </a:lnTo>
                <a:lnTo>
                  <a:pt x="1102741" y="3755"/>
                </a:lnTo>
                <a:lnTo>
                  <a:pt x="1048918" y="53823"/>
                </a:lnTo>
                <a:close/>
                <a:moveTo>
                  <a:pt x="1219148" y="112652"/>
                </a:moveTo>
                <a:lnTo>
                  <a:pt x="1219148" y="135183"/>
                </a:lnTo>
                <a:lnTo>
                  <a:pt x="1135285" y="135183"/>
                </a:lnTo>
                <a:lnTo>
                  <a:pt x="1135285" y="3755"/>
                </a:lnTo>
                <a:lnTo>
                  <a:pt x="1219148" y="3755"/>
                </a:lnTo>
                <a:lnTo>
                  <a:pt x="1219148" y="25034"/>
                </a:lnTo>
                <a:lnTo>
                  <a:pt x="1160319" y="25034"/>
                </a:lnTo>
                <a:lnTo>
                  <a:pt x="1160319" y="57578"/>
                </a:lnTo>
                <a:lnTo>
                  <a:pt x="1207883" y="57578"/>
                </a:lnTo>
                <a:lnTo>
                  <a:pt x="1207883" y="78856"/>
                </a:lnTo>
                <a:lnTo>
                  <a:pt x="1160319" y="78856"/>
                </a:lnTo>
                <a:lnTo>
                  <a:pt x="1160319" y="112652"/>
                </a:lnTo>
                <a:lnTo>
                  <a:pt x="1219148" y="112652"/>
                </a:lnTo>
                <a:close/>
                <a:moveTo>
                  <a:pt x="1262958" y="135183"/>
                </a:moveTo>
                <a:lnTo>
                  <a:pt x="1262958" y="3755"/>
                </a:lnTo>
                <a:lnTo>
                  <a:pt x="1285488" y="3755"/>
                </a:lnTo>
                <a:lnTo>
                  <a:pt x="1343066" y="86367"/>
                </a:lnTo>
                <a:lnTo>
                  <a:pt x="1343066" y="3755"/>
                </a:lnTo>
                <a:lnTo>
                  <a:pt x="1368100" y="3755"/>
                </a:lnTo>
                <a:lnTo>
                  <a:pt x="1368100" y="135183"/>
                </a:lnTo>
                <a:lnTo>
                  <a:pt x="1345569" y="135183"/>
                </a:lnTo>
                <a:lnTo>
                  <a:pt x="1287991" y="52571"/>
                </a:lnTo>
                <a:lnTo>
                  <a:pt x="1287991" y="135183"/>
                </a:lnTo>
                <a:lnTo>
                  <a:pt x="1262958" y="135183"/>
                </a:lnTo>
                <a:close/>
              </a:path>
            </a:pathLst>
          </a:custGeom>
          <a:solidFill>
            <a:srgbClr val="005A70"/>
          </a:solidFill>
          <a:ln w="12456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3FB4464-803F-4CD6-811D-D5BA129A8AE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9769" y="3243998"/>
            <a:ext cx="2520000" cy="245901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algn="ctr">
              <a:buClr>
                <a:schemeClr val="tx2"/>
              </a:buClr>
              <a:defRPr sz="1000" b="1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A39B181-D836-4518-A36B-108D942C3D1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1617" y="3243998"/>
            <a:ext cx="2520000" cy="245901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algn="ctr">
              <a:buClr>
                <a:schemeClr val="tx2"/>
              </a:buClr>
              <a:defRPr sz="1000" b="1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1A818A6-6F14-4E5D-A00A-2E851BF47D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903465" y="3243998"/>
            <a:ext cx="2520000" cy="245901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algn="ctr">
              <a:buClr>
                <a:schemeClr val="tx2"/>
              </a:buClr>
              <a:defRPr sz="1000" b="1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14" name="Tijdelijke aanduiding voor tekst 26">
            <a:extLst>
              <a:ext uri="{FF2B5EF4-FFF2-40B4-BE49-F238E27FC236}">
                <a16:creationId xmlns:a16="http://schemas.microsoft.com/office/drawing/2014/main" id="{1DE83248-68FF-415B-BB6D-29D9232656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1360" y="3562560"/>
            <a:ext cx="2519362" cy="169021"/>
          </a:xfrm>
          <a:prstGeom prst="rect">
            <a:avLst/>
          </a:prstGeom>
        </p:spPr>
        <p:txBody>
          <a:bodyPr wrap="square" lIns="0" tIns="0" rIns="0">
            <a:spAutoFit/>
          </a:bodyPr>
          <a:lstStyle>
            <a:lvl1pPr algn="ctr">
              <a:defRPr lang="nl-NL" sz="800" b="0" cap="none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15" name="Tijdelijke aanduiding voor tekst 26">
            <a:extLst>
              <a:ext uri="{FF2B5EF4-FFF2-40B4-BE49-F238E27FC236}">
                <a16:creationId xmlns:a16="http://schemas.microsoft.com/office/drawing/2014/main" id="{9D5AFBD4-C76F-43D2-82E6-64CF6E0B46E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32255" y="3562560"/>
            <a:ext cx="2519362" cy="169021"/>
          </a:xfrm>
          <a:prstGeom prst="rect">
            <a:avLst/>
          </a:prstGeom>
        </p:spPr>
        <p:txBody>
          <a:bodyPr wrap="square" lIns="0" tIns="0" rIns="0">
            <a:spAutoFit/>
          </a:bodyPr>
          <a:lstStyle>
            <a:lvl1pPr algn="ctr">
              <a:defRPr lang="nl-NL" sz="800" b="0" cap="none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16" name="Tijdelijke aanduiding voor tekst 26">
            <a:extLst>
              <a:ext uri="{FF2B5EF4-FFF2-40B4-BE49-F238E27FC236}">
                <a16:creationId xmlns:a16="http://schemas.microsoft.com/office/drawing/2014/main" id="{B7C31E9F-4A0B-40B5-80B3-A0ABF5378DC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904103" y="3562560"/>
            <a:ext cx="2519362" cy="169021"/>
          </a:xfrm>
          <a:prstGeom prst="rect">
            <a:avLst/>
          </a:prstGeom>
        </p:spPr>
        <p:txBody>
          <a:bodyPr wrap="square" lIns="0" tIns="0" rIns="0">
            <a:spAutoFit/>
          </a:bodyPr>
          <a:lstStyle>
            <a:lvl1pPr algn="ctr">
              <a:defRPr lang="nl-NL" sz="800" b="0" cap="none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17" name="Tijdelijke aanduiding voor dianummer 3">
            <a:extLst>
              <a:ext uri="{FF2B5EF4-FFF2-40B4-BE49-F238E27FC236}">
                <a16:creationId xmlns:a16="http://schemas.microsoft.com/office/drawing/2014/main" id="{17E7F5DB-2108-4EE5-9CFF-E52DBBDDB6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08508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join, boost, sust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Straight Connector 7"/>
          <p:cNvSpPr/>
          <p:nvPr/>
        </p:nvSpPr>
        <p:spPr>
          <a:xfrm>
            <a:off x="141725" y="124017"/>
            <a:ext cx="8716089" cy="1"/>
          </a:xfrm>
          <a:prstGeom prst="line">
            <a:avLst/>
          </a:prstGeom>
          <a:ln w="31750">
            <a:solidFill>
              <a:srgbClr val="000000"/>
            </a:solidFill>
            <a:miter/>
          </a:ln>
        </p:spPr>
        <p:txBody>
          <a:bodyPr lIns="44997" rIns="44997"/>
          <a:lstStyle/>
          <a:p>
            <a:endParaRPr sz="1279"/>
          </a:p>
        </p:txBody>
      </p:sp>
      <p:sp>
        <p:nvSpPr>
          <p:cNvPr id="74" name="Straight Connector 8"/>
          <p:cNvSpPr/>
          <p:nvPr/>
        </p:nvSpPr>
        <p:spPr>
          <a:xfrm>
            <a:off x="141725" y="177166"/>
            <a:ext cx="8716089" cy="1"/>
          </a:xfrm>
          <a:prstGeom prst="line">
            <a:avLst/>
          </a:prstGeom>
          <a:ln w="19050">
            <a:solidFill>
              <a:srgbClr val="000000"/>
            </a:solidFill>
            <a:miter/>
          </a:ln>
        </p:spPr>
        <p:txBody>
          <a:bodyPr lIns="44997" rIns="44997"/>
          <a:lstStyle/>
          <a:p>
            <a:endParaRPr sz="1279"/>
          </a:p>
        </p:txBody>
      </p:sp>
      <p:sp>
        <p:nvSpPr>
          <p:cNvPr id="75" name="Rectangle 7"/>
          <p:cNvSpPr/>
          <p:nvPr/>
        </p:nvSpPr>
        <p:spPr>
          <a:xfrm>
            <a:off x="141725" y="171752"/>
            <a:ext cx="8716088" cy="4392668"/>
          </a:xfrm>
          <a:prstGeom prst="rect">
            <a:avLst/>
          </a:prstGeom>
          <a:solidFill>
            <a:srgbClr val="EBEBEB"/>
          </a:solidFill>
          <a:ln w="12700">
            <a:miter lim="400000"/>
          </a:ln>
        </p:spPr>
        <p:txBody>
          <a:bodyPr lIns="44997" rIns="44997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1279"/>
          </a:p>
        </p:txBody>
      </p:sp>
      <p:sp>
        <p:nvSpPr>
          <p:cNvPr id="76" name="Hoofdtekst - niveau één…"/>
          <p:cNvSpPr txBox="1">
            <a:spLocks noGrp="1"/>
          </p:cNvSpPr>
          <p:nvPr>
            <p:ph type="body" sz="quarter" idx="1"/>
          </p:nvPr>
        </p:nvSpPr>
        <p:spPr>
          <a:xfrm>
            <a:off x="956643" y="2622066"/>
            <a:ext cx="7086252" cy="566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SzTx/>
              <a:buFontTx/>
              <a:buNone/>
              <a:defRPr sz="1575"/>
            </a:lvl1pPr>
            <a:lvl2pPr marL="0" indent="337482" algn="ctr">
              <a:buSzTx/>
              <a:buFontTx/>
              <a:buNone/>
              <a:defRPr sz="1575"/>
            </a:lvl2pPr>
            <a:lvl3pPr marL="0" indent="674964" algn="ctr">
              <a:buSzTx/>
              <a:buFontTx/>
              <a:buNone/>
              <a:defRPr sz="1575"/>
            </a:lvl3pPr>
            <a:lvl4pPr marL="0" indent="1012447" algn="ctr">
              <a:buSzTx/>
              <a:buFontTx/>
              <a:buNone/>
              <a:defRPr sz="1575"/>
            </a:lvl4pPr>
            <a:lvl5pPr marL="0" indent="1349929" algn="ctr">
              <a:buSzTx/>
              <a:buFontTx/>
              <a:buNone/>
              <a:defRPr sz="1575"/>
            </a:lvl5pPr>
          </a:lstStyle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pic>
        <p:nvPicPr>
          <p:cNvPr id="77" name="Picture 23" descr="Picture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881" y="1346467"/>
            <a:ext cx="8361777" cy="1101205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91" name="Group 6"/>
          <p:cNvGrpSpPr/>
          <p:nvPr/>
        </p:nvGrpSpPr>
        <p:grpSpPr>
          <a:xfrm>
            <a:off x="1587108" y="4635991"/>
            <a:ext cx="5825323" cy="373729"/>
            <a:chOff x="-1" y="-1"/>
            <a:chExt cx="5918830" cy="379705"/>
          </a:xfrm>
        </p:grpSpPr>
        <p:pic>
          <p:nvPicPr>
            <p:cNvPr id="78" name="Picture 7" descr="Picture 7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>
            <a:xfrm>
              <a:off x="1011569" y="80820"/>
              <a:ext cx="471689" cy="232624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79" name="Picture 8" descr="Picture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914241" y="14506"/>
              <a:ext cx="365196" cy="36519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80" name="Picture 10" descr="Picture 1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438271" y="29431"/>
              <a:ext cx="457216" cy="31685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81" name="Straight Connector 12"/>
            <p:cNvSpPr/>
            <p:nvPr/>
          </p:nvSpPr>
          <p:spPr>
            <a:xfrm>
              <a:off x="1672170" y="14506"/>
              <a:ext cx="12" cy="365196"/>
            </a:xfrm>
            <a:prstGeom prst="line">
              <a:avLst/>
            </a:prstGeom>
            <a:noFill/>
            <a:ln w="6350" cap="flat">
              <a:solidFill>
                <a:srgbClr val="BFBFBF"/>
              </a:solidFill>
              <a:prstDash val="solid"/>
              <a:miter lim="8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899952">
                <a:defRPr sz="1800">
                  <a:latin typeface="+mn-lt"/>
                  <a:ea typeface="+mn-ea"/>
                  <a:cs typeface="+mn-cs"/>
                  <a:sym typeface="Helvetica"/>
                </a:defRPr>
              </a:pPr>
              <a:endParaRPr sz="1772"/>
            </a:p>
          </p:txBody>
        </p:sp>
        <p:sp>
          <p:nvSpPr>
            <p:cNvPr id="82" name="Straight Connector 13"/>
            <p:cNvSpPr/>
            <p:nvPr/>
          </p:nvSpPr>
          <p:spPr>
            <a:xfrm>
              <a:off x="2521496" y="14506"/>
              <a:ext cx="12" cy="365196"/>
            </a:xfrm>
            <a:prstGeom prst="line">
              <a:avLst/>
            </a:prstGeom>
            <a:noFill/>
            <a:ln w="6350" cap="flat">
              <a:solidFill>
                <a:srgbClr val="BFBFBF"/>
              </a:solidFill>
              <a:prstDash val="solid"/>
              <a:miter lim="8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899952">
                <a:defRPr sz="1800">
                  <a:latin typeface="+mn-lt"/>
                  <a:ea typeface="+mn-ea"/>
                  <a:cs typeface="+mn-cs"/>
                  <a:sym typeface="Helvetica"/>
                </a:defRPr>
              </a:pPr>
              <a:endParaRPr sz="1772"/>
            </a:p>
          </p:txBody>
        </p:sp>
        <p:sp>
          <p:nvSpPr>
            <p:cNvPr id="83" name="Straight Connector 14"/>
            <p:cNvSpPr/>
            <p:nvPr/>
          </p:nvSpPr>
          <p:spPr>
            <a:xfrm>
              <a:off x="3370831" y="14506"/>
              <a:ext cx="12" cy="365196"/>
            </a:xfrm>
            <a:prstGeom prst="line">
              <a:avLst/>
            </a:prstGeom>
            <a:noFill/>
            <a:ln w="6350" cap="flat">
              <a:solidFill>
                <a:srgbClr val="BFBFBF"/>
              </a:solidFill>
              <a:prstDash val="solid"/>
              <a:miter lim="8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899952">
                <a:defRPr sz="1800">
                  <a:latin typeface="+mn-lt"/>
                  <a:ea typeface="+mn-ea"/>
                  <a:cs typeface="+mn-cs"/>
                  <a:sym typeface="Helvetica"/>
                </a:defRPr>
              </a:pPr>
              <a:endParaRPr sz="1772"/>
            </a:p>
          </p:txBody>
        </p:sp>
        <p:sp>
          <p:nvSpPr>
            <p:cNvPr id="84" name="Straight Connector 15"/>
            <p:cNvSpPr/>
            <p:nvPr/>
          </p:nvSpPr>
          <p:spPr>
            <a:xfrm>
              <a:off x="4220159" y="14506"/>
              <a:ext cx="12" cy="365196"/>
            </a:xfrm>
            <a:prstGeom prst="line">
              <a:avLst/>
            </a:prstGeom>
            <a:noFill/>
            <a:ln w="6350" cap="flat">
              <a:solidFill>
                <a:srgbClr val="BFBFBF"/>
              </a:solidFill>
              <a:prstDash val="solid"/>
              <a:miter lim="8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899952">
                <a:defRPr sz="1800">
                  <a:latin typeface="+mn-lt"/>
                  <a:ea typeface="+mn-ea"/>
                  <a:cs typeface="+mn-cs"/>
                  <a:sym typeface="Helvetica"/>
                </a:defRPr>
              </a:pPr>
              <a:endParaRPr sz="1772"/>
            </a:p>
          </p:txBody>
        </p:sp>
        <p:sp>
          <p:nvSpPr>
            <p:cNvPr id="85" name="Straight Connector 16"/>
            <p:cNvSpPr/>
            <p:nvPr/>
          </p:nvSpPr>
          <p:spPr>
            <a:xfrm flipH="1">
              <a:off x="822843" y="14506"/>
              <a:ext cx="10" cy="365196"/>
            </a:xfrm>
            <a:prstGeom prst="line">
              <a:avLst/>
            </a:prstGeom>
            <a:noFill/>
            <a:ln w="6350" cap="flat">
              <a:solidFill>
                <a:srgbClr val="BFBFBF"/>
              </a:solidFill>
              <a:prstDash val="solid"/>
              <a:miter lim="8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899952">
                <a:defRPr sz="1800">
                  <a:latin typeface="+mn-lt"/>
                  <a:ea typeface="+mn-ea"/>
                  <a:cs typeface="+mn-cs"/>
                  <a:sym typeface="Helvetica"/>
                </a:defRPr>
              </a:pPr>
              <a:endParaRPr sz="1772"/>
            </a:p>
          </p:txBody>
        </p:sp>
        <p:sp>
          <p:nvSpPr>
            <p:cNvPr id="86" name="Straight Connector 17"/>
            <p:cNvSpPr/>
            <p:nvPr/>
          </p:nvSpPr>
          <p:spPr>
            <a:xfrm>
              <a:off x="5069485" y="14506"/>
              <a:ext cx="12" cy="365196"/>
            </a:xfrm>
            <a:prstGeom prst="line">
              <a:avLst/>
            </a:prstGeom>
            <a:noFill/>
            <a:ln w="6350" cap="flat">
              <a:solidFill>
                <a:srgbClr val="BFBFBF"/>
              </a:solidFill>
              <a:prstDash val="solid"/>
              <a:miter lim="8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899952">
                <a:defRPr sz="1800">
                  <a:latin typeface="+mn-lt"/>
                  <a:ea typeface="+mn-ea"/>
                  <a:cs typeface="+mn-cs"/>
                  <a:sym typeface="Helvetica"/>
                </a:defRPr>
              </a:pPr>
              <a:endParaRPr sz="1772"/>
            </a:p>
          </p:txBody>
        </p:sp>
        <p:pic>
          <p:nvPicPr>
            <p:cNvPr id="87" name="Picture 18" descr="Picture 18"/>
            <p:cNvPicPr>
              <a:picLocks noChangeAspect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>
            <a:xfrm>
              <a:off x="5293981" y="-2"/>
              <a:ext cx="409429" cy="375724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88" name="Straight Connector 19"/>
            <p:cNvSpPr/>
            <p:nvPr/>
          </p:nvSpPr>
          <p:spPr>
            <a:xfrm>
              <a:off x="5918819" y="14506"/>
              <a:ext cx="11" cy="365196"/>
            </a:xfrm>
            <a:prstGeom prst="line">
              <a:avLst/>
            </a:prstGeom>
            <a:noFill/>
            <a:ln w="6350" cap="flat">
              <a:solidFill>
                <a:srgbClr val="BFBFBF"/>
              </a:solidFill>
              <a:prstDash val="solid"/>
              <a:miter lim="8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899952">
                <a:defRPr sz="1800">
                  <a:latin typeface="+mn-lt"/>
                  <a:ea typeface="+mn-ea"/>
                  <a:cs typeface="+mn-cs"/>
                  <a:sym typeface="Helvetica"/>
                </a:defRPr>
              </a:pPr>
              <a:endParaRPr sz="1772"/>
            </a:p>
          </p:txBody>
        </p:sp>
        <p:pic>
          <p:nvPicPr>
            <p:cNvPr id="89" name="1. Eurocities-Logo with text (1).pdf" descr="1. Eurocities-Logo with text (1).pdf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74898" y="115010"/>
              <a:ext cx="473056" cy="16419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90" name="Straight Connector 16"/>
            <p:cNvSpPr/>
            <p:nvPr/>
          </p:nvSpPr>
          <p:spPr>
            <a:xfrm flipH="1">
              <a:off x="-2" y="5263"/>
              <a:ext cx="11" cy="365196"/>
            </a:xfrm>
            <a:prstGeom prst="line">
              <a:avLst/>
            </a:prstGeom>
            <a:noFill/>
            <a:ln w="6350" cap="flat">
              <a:solidFill>
                <a:srgbClr val="BFBFBF"/>
              </a:solidFill>
              <a:prstDash val="solid"/>
              <a:miter lim="8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899952">
                <a:defRPr sz="1800">
                  <a:latin typeface="+mn-lt"/>
                  <a:ea typeface="+mn-ea"/>
                  <a:cs typeface="+mn-cs"/>
                  <a:sym typeface="Helvetica"/>
                </a:defRPr>
              </a:pPr>
              <a:endParaRPr sz="1772"/>
            </a:p>
          </p:txBody>
        </p:sp>
      </p:grpSp>
      <p:pic>
        <p:nvPicPr>
          <p:cNvPr id="92" name="errin_0_0.png" descr="errin_0_0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74826" y="4768110"/>
            <a:ext cx="810326" cy="188413"/>
          </a:xfrm>
          <a:prstGeom prst="rect">
            <a:avLst/>
          </a:prstGeom>
          <a:ln w="12700">
            <a:miter lim="400000"/>
          </a:ln>
        </p:spPr>
      </p:pic>
      <p:pic>
        <p:nvPicPr>
          <p:cNvPr id="93" name="CEMR.jpeg" descr="CEMR.jpe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99779" y="4596529"/>
            <a:ext cx="452625" cy="452653"/>
          </a:xfrm>
          <a:prstGeom prst="rect">
            <a:avLst/>
          </a:prstGeom>
          <a:ln w="12700">
            <a:miter lim="400000"/>
          </a:ln>
        </p:spPr>
      </p:pic>
      <p:sp>
        <p:nvSpPr>
          <p:cNvPr id="94" name="Dianummer"/>
          <p:cNvSpPr txBox="1">
            <a:spLocks noGrp="1"/>
          </p:cNvSpPr>
          <p:nvPr>
            <p:ph type="sldNum" sz="quarter" idx="2"/>
          </p:nvPr>
        </p:nvSpPr>
        <p:spPr>
          <a:xfrm>
            <a:off x="4349777" y="4692223"/>
            <a:ext cx="2099892" cy="27500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10">
            <a:extLst>
              <a:ext uri="{FF2B5EF4-FFF2-40B4-BE49-F238E27FC236}">
                <a16:creationId xmlns:a16="http://schemas.microsoft.com/office/drawing/2014/main" id="{D9E6554F-DB42-4D25-A442-152D4C3F47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364" y="4567849"/>
            <a:ext cx="8278812" cy="180681"/>
          </a:xfrm>
          <a:prstGeom prst="rect">
            <a:avLst/>
          </a:prstGeom>
        </p:spPr>
        <p:txBody>
          <a:bodyPr tIns="0"/>
          <a:lstStyle>
            <a:lvl1pPr marL="0" indent="0" algn="ctr">
              <a:lnSpc>
                <a:spcPct val="150000"/>
              </a:lnSpc>
              <a:buClr>
                <a:schemeClr val="tx2"/>
              </a:buClr>
              <a:buFont typeface="Arial" panose="020B0604020202020204" pitchFamily="34" charset="0"/>
              <a:buNone/>
              <a:defRPr lang="nl-NL" sz="800" b="0" kern="1200" cap="none" spc="47" baseline="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nl-NL"/>
              <a:t>Datum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4" y="3796304"/>
            <a:ext cx="8278812" cy="221599"/>
          </a:xfrm>
        </p:spPr>
        <p:txBody>
          <a:bodyPr anchor="t" anchorCtr="0"/>
          <a:lstStyle>
            <a:lvl1pPr marL="0" indent="0" algn="ctr">
              <a:buClr>
                <a:schemeClr val="tx2"/>
              </a:buClr>
              <a:buFont typeface="Arial" panose="020B0604020202020204" pitchFamily="34" charset="0"/>
              <a:buNone/>
              <a:defRPr sz="1600" spc="4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nl-NL"/>
              <a:t>Titel presentatie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E95E579-9790-4F95-8FB3-3D158C32A7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912785"/>
            <a:ext cx="8999538" cy="2517803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 b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/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C9067BEA-B125-4BBA-9BFB-4B8A99D273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957" y="4115446"/>
            <a:ext cx="8278812" cy="180681"/>
          </a:xfrm>
          <a:prstGeom prst="rect">
            <a:avLst/>
          </a:prstGeom>
        </p:spPr>
        <p:txBody>
          <a:bodyPr tIns="0"/>
          <a:lstStyle>
            <a:lvl1pPr marL="0" indent="0" algn="ctr">
              <a:buClr>
                <a:schemeClr val="tx2"/>
              </a:buClr>
              <a:buFont typeface="Arial" panose="020B0604020202020204" pitchFamily="34" charset="0"/>
              <a:buNone/>
              <a:defRPr sz="1200" b="0" cap="none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412BC8B0-2FC2-4D70-961B-56CEF978ABDD}"/>
              </a:ext>
            </a:extLst>
          </p:cNvPr>
          <p:cNvSpPr/>
          <p:nvPr/>
        </p:nvSpPr>
        <p:spPr>
          <a:xfrm>
            <a:off x="3817597" y="389479"/>
            <a:ext cx="1364345" cy="162720"/>
          </a:xfrm>
          <a:custGeom>
            <a:avLst/>
            <a:gdLst>
              <a:gd name="connsiteX0" fmla="*/ 57578 w 1364344"/>
              <a:gd name="connsiteY0" fmla="*/ 3755 h 162719"/>
              <a:gd name="connsiteX1" fmla="*/ 100135 w 1364344"/>
              <a:gd name="connsiteY1" fmla="*/ 42557 h 162719"/>
              <a:gd name="connsiteX2" fmla="*/ 57578 w 1364344"/>
              <a:gd name="connsiteY2" fmla="*/ 82612 h 162719"/>
              <a:gd name="connsiteX3" fmla="*/ 23782 w 1364344"/>
              <a:gd name="connsiteY3" fmla="*/ 82612 h 162719"/>
              <a:gd name="connsiteX4" fmla="*/ 23782 w 1364344"/>
              <a:gd name="connsiteY4" fmla="*/ 135183 h 162719"/>
              <a:gd name="connsiteX5" fmla="*/ 0 w 1364344"/>
              <a:gd name="connsiteY5" fmla="*/ 135183 h 162719"/>
              <a:gd name="connsiteX6" fmla="*/ 0 w 1364344"/>
              <a:gd name="connsiteY6" fmla="*/ 3755 h 162719"/>
              <a:gd name="connsiteX7" fmla="*/ 57578 w 1364344"/>
              <a:gd name="connsiteY7" fmla="*/ 3755 h 162719"/>
              <a:gd name="connsiteX8" fmla="*/ 56326 w 1364344"/>
              <a:gd name="connsiteY8" fmla="*/ 61333 h 162719"/>
              <a:gd name="connsiteX9" fmla="*/ 73850 w 1364344"/>
              <a:gd name="connsiteY9" fmla="*/ 43809 h 162719"/>
              <a:gd name="connsiteX10" fmla="*/ 56326 w 1364344"/>
              <a:gd name="connsiteY10" fmla="*/ 26285 h 162719"/>
              <a:gd name="connsiteX11" fmla="*/ 23782 w 1364344"/>
              <a:gd name="connsiteY11" fmla="*/ 26285 h 162719"/>
              <a:gd name="connsiteX12" fmla="*/ 23782 w 1364344"/>
              <a:gd name="connsiteY12" fmla="*/ 61333 h 162719"/>
              <a:gd name="connsiteX13" fmla="*/ 56326 w 1364344"/>
              <a:gd name="connsiteY13" fmla="*/ 61333 h 162719"/>
              <a:gd name="connsiteX14" fmla="*/ 215291 w 1364344"/>
              <a:gd name="connsiteY14" fmla="*/ 112652 h 162719"/>
              <a:gd name="connsiteX15" fmla="*/ 215291 w 1364344"/>
              <a:gd name="connsiteY15" fmla="*/ 135183 h 162719"/>
              <a:gd name="connsiteX16" fmla="*/ 131428 w 1364344"/>
              <a:gd name="connsiteY16" fmla="*/ 135183 h 162719"/>
              <a:gd name="connsiteX17" fmla="*/ 131428 w 1364344"/>
              <a:gd name="connsiteY17" fmla="*/ 3755 h 162719"/>
              <a:gd name="connsiteX18" fmla="*/ 215291 w 1364344"/>
              <a:gd name="connsiteY18" fmla="*/ 3755 h 162719"/>
              <a:gd name="connsiteX19" fmla="*/ 215291 w 1364344"/>
              <a:gd name="connsiteY19" fmla="*/ 25034 h 162719"/>
              <a:gd name="connsiteX20" fmla="*/ 156462 w 1364344"/>
              <a:gd name="connsiteY20" fmla="*/ 25034 h 162719"/>
              <a:gd name="connsiteX21" fmla="*/ 156462 w 1364344"/>
              <a:gd name="connsiteY21" fmla="*/ 57578 h 162719"/>
              <a:gd name="connsiteX22" fmla="*/ 204026 w 1364344"/>
              <a:gd name="connsiteY22" fmla="*/ 57578 h 162719"/>
              <a:gd name="connsiteX23" fmla="*/ 204026 w 1364344"/>
              <a:gd name="connsiteY23" fmla="*/ 78856 h 162719"/>
              <a:gd name="connsiteX24" fmla="*/ 156462 w 1364344"/>
              <a:gd name="connsiteY24" fmla="*/ 78856 h 162719"/>
              <a:gd name="connsiteX25" fmla="*/ 156462 w 1364344"/>
              <a:gd name="connsiteY25" fmla="*/ 112652 h 162719"/>
              <a:gd name="connsiteX26" fmla="*/ 215291 w 1364344"/>
              <a:gd name="connsiteY26" fmla="*/ 112652 h 162719"/>
              <a:gd name="connsiteX27" fmla="*/ 282882 w 1364344"/>
              <a:gd name="connsiteY27" fmla="*/ 112652 h 162719"/>
              <a:gd name="connsiteX28" fmla="*/ 336705 w 1364344"/>
              <a:gd name="connsiteY28" fmla="*/ 112652 h 162719"/>
              <a:gd name="connsiteX29" fmla="*/ 336705 w 1364344"/>
              <a:gd name="connsiteY29" fmla="*/ 135183 h 162719"/>
              <a:gd name="connsiteX30" fmla="*/ 259100 w 1364344"/>
              <a:gd name="connsiteY30" fmla="*/ 135183 h 162719"/>
              <a:gd name="connsiteX31" fmla="*/ 259100 w 1364344"/>
              <a:gd name="connsiteY31" fmla="*/ 3755 h 162719"/>
              <a:gd name="connsiteX32" fmla="*/ 282882 w 1364344"/>
              <a:gd name="connsiteY32" fmla="*/ 3755 h 162719"/>
              <a:gd name="connsiteX33" fmla="*/ 282882 w 1364344"/>
              <a:gd name="connsiteY33" fmla="*/ 112652 h 162719"/>
              <a:gd name="connsiteX34" fmla="*/ 404297 w 1364344"/>
              <a:gd name="connsiteY34" fmla="*/ 137686 h 162719"/>
              <a:gd name="connsiteX35" fmla="*/ 357984 w 1364344"/>
              <a:gd name="connsiteY35" fmla="*/ 101387 h 162719"/>
              <a:gd name="connsiteX36" fmla="*/ 381766 w 1364344"/>
              <a:gd name="connsiteY36" fmla="*/ 95128 h 162719"/>
              <a:gd name="connsiteX37" fmla="*/ 405548 w 1364344"/>
              <a:gd name="connsiteY37" fmla="*/ 115155 h 162719"/>
              <a:gd name="connsiteX38" fmla="*/ 424324 w 1364344"/>
              <a:gd name="connsiteY38" fmla="*/ 100135 h 162719"/>
              <a:gd name="connsiteX39" fmla="*/ 401793 w 1364344"/>
              <a:gd name="connsiteY39" fmla="*/ 80108 h 162719"/>
              <a:gd name="connsiteX40" fmla="*/ 362991 w 1364344"/>
              <a:gd name="connsiteY40" fmla="*/ 40054 h 162719"/>
              <a:gd name="connsiteX41" fmla="*/ 403045 w 1364344"/>
              <a:gd name="connsiteY41" fmla="*/ 1252 h 162719"/>
              <a:gd name="connsiteX42" fmla="*/ 443099 w 1364344"/>
              <a:gd name="connsiteY42" fmla="*/ 26285 h 162719"/>
              <a:gd name="connsiteX43" fmla="*/ 421820 w 1364344"/>
              <a:gd name="connsiteY43" fmla="*/ 36299 h 162719"/>
              <a:gd name="connsiteX44" fmla="*/ 404297 w 1364344"/>
              <a:gd name="connsiteY44" fmla="*/ 23782 h 162719"/>
              <a:gd name="connsiteX45" fmla="*/ 388025 w 1364344"/>
              <a:gd name="connsiteY45" fmla="*/ 38802 h 162719"/>
              <a:gd name="connsiteX46" fmla="*/ 409303 w 1364344"/>
              <a:gd name="connsiteY46" fmla="*/ 58829 h 162719"/>
              <a:gd name="connsiteX47" fmla="*/ 448106 w 1364344"/>
              <a:gd name="connsiteY47" fmla="*/ 98884 h 162719"/>
              <a:gd name="connsiteX48" fmla="*/ 404297 w 1364344"/>
              <a:gd name="connsiteY48" fmla="*/ 137686 h 162719"/>
              <a:gd name="connsiteX49" fmla="*/ 628350 w 1364344"/>
              <a:gd name="connsiteY49" fmla="*/ 135183 h 162719"/>
              <a:gd name="connsiteX50" fmla="*/ 597057 w 1364344"/>
              <a:gd name="connsiteY50" fmla="*/ 82612 h 162719"/>
              <a:gd name="connsiteX51" fmla="*/ 573275 w 1364344"/>
              <a:gd name="connsiteY51" fmla="*/ 82612 h 162719"/>
              <a:gd name="connsiteX52" fmla="*/ 573275 w 1364344"/>
              <a:gd name="connsiteY52" fmla="*/ 135183 h 162719"/>
              <a:gd name="connsiteX53" fmla="*/ 549493 w 1364344"/>
              <a:gd name="connsiteY53" fmla="*/ 135183 h 162719"/>
              <a:gd name="connsiteX54" fmla="*/ 549493 w 1364344"/>
              <a:gd name="connsiteY54" fmla="*/ 3755 h 162719"/>
              <a:gd name="connsiteX55" fmla="*/ 607071 w 1364344"/>
              <a:gd name="connsiteY55" fmla="*/ 3755 h 162719"/>
              <a:gd name="connsiteX56" fmla="*/ 648377 w 1364344"/>
              <a:gd name="connsiteY56" fmla="*/ 41306 h 162719"/>
              <a:gd name="connsiteX57" fmla="*/ 620839 w 1364344"/>
              <a:gd name="connsiteY57" fmla="*/ 76353 h 162719"/>
              <a:gd name="connsiteX58" fmla="*/ 657138 w 1364344"/>
              <a:gd name="connsiteY58" fmla="*/ 135183 h 162719"/>
              <a:gd name="connsiteX59" fmla="*/ 628350 w 1364344"/>
              <a:gd name="connsiteY59" fmla="*/ 135183 h 162719"/>
              <a:gd name="connsiteX60" fmla="*/ 622091 w 1364344"/>
              <a:gd name="connsiteY60" fmla="*/ 42557 h 162719"/>
              <a:gd name="connsiteX61" fmla="*/ 603316 w 1364344"/>
              <a:gd name="connsiteY61" fmla="*/ 26285 h 162719"/>
              <a:gd name="connsiteX62" fmla="*/ 573275 w 1364344"/>
              <a:gd name="connsiteY62" fmla="*/ 26285 h 162719"/>
              <a:gd name="connsiteX63" fmla="*/ 573275 w 1364344"/>
              <a:gd name="connsiteY63" fmla="*/ 61333 h 162719"/>
              <a:gd name="connsiteX64" fmla="*/ 602064 w 1364344"/>
              <a:gd name="connsiteY64" fmla="*/ 61333 h 162719"/>
              <a:gd name="connsiteX65" fmla="*/ 622091 w 1364344"/>
              <a:gd name="connsiteY65" fmla="*/ 42557 h 162719"/>
              <a:gd name="connsiteX66" fmla="*/ 720975 w 1364344"/>
              <a:gd name="connsiteY66" fmla="*/ 135183 h 162719"/>
              <a:gd name="connsiteX67" fmla="*/ 695941 w 1364344"/>
              <a:gd name="connsiteY67" fmla="*/ 135183 h 162719"/>
              <a:gd name="connsiteX68" fmla="*/ 695941 w 1364344"/>
              <a:gd name="connsiteY68" fmla="*/ 3755 h 162719"/>
              <a:gd name="connsiteX69" fmla="*/ 720975 w 1364344"/>
              <a:gd name="connsiteY69" fmla="*/ 3755 h 162719"/>
              <a:gd name="connsiteX70" fmla="*/ 720975 w 1364344"/>
              <a:gd name="connsiteY70" fmla="*/ 135183 h 162719"/>
              <a:gd name="connsiteX71" fmla="*/ 794825 w 1364344"/>
              <a:gd name="connsiteY71" fmla="*/ 168978 h 162719"/>
              <a:gd name="connsiteX72" fmla="*/ 769791 w 1364344"/>
              <a:gd name="connsiteY72" fmla="*/ 168978 h 162719"/>
              <a:gd name="connsiteX73" fmla="*/ 769791 w 1364344"/>
              <a:gd name="connsiteY73" fmla="*/ 37551 h 162719"/>
              <a:gd name="connsiteX74" fmla="*/ 794825 w 1364344"/>
              <a:gd name="connsiteY74" fmla="*/ 37551 h 162719"/>
              <a:gd name="connsiteX75" fmla="*/ 794825 w 1364344"/>
              <a:gd name="connsiteY75" fmla="*/ 168978 h 162719"/>
              <a:gd name="connsiteX76" fmla="*/ 897463 w 1364344"/>
              <a:gd name="connsiteY76" fmla="*/ 137686 h 162719"/>
              <a:gd name="connsiteX77" fmla="*/ 836131 w 1364344"/>
              <a:gd name="connsiteY77" fmla="*/ 68843 h 162719"/>
              <a:gd name="connsiteX78" fmla="*/ 897463 w 1364344"/>
              <a:gd name="connsiteY78" fmla="*/ 0 h 162719"/>
              <a:gd name="connsiteX79" fmla="*/ 948783 w 1364344"/>
              <a:gd name="connsiteY79" fmla="*/ 36299 h 162719"/>
              <a:gd name="connsiteX80" fmla="*/ 926252 w 1364344"/>
              <a:gd name="connsiteY80" fmla="*/ 45061 h 162719"/>
              <a:gd name="connsiteX81" fmla="*/ 897463 w 1364344"/>
              <a:gd name="connsiteY81" fmla="*/ 23782 h 162719"/>
              <a:gd name="connsiteX82" fmla="*/ 861164 w 1364344"/>
              <a:gd name="connsiteY82" fmla="*/ 68843 h 162719"/>
              <a:gd name="connsiteX83" fmla="*/ 897463 w 1364344"/>
              <a:gd name="connsiteY83" fmla="*/ 113904 h 162719"/>
              <a:gd name="connsiteX84" fmla="*/ 932511 w 1364344"/>
              <a:gd name="connsiteY84" fmla="*/ 87618 h 162719"/>
              <a:gd name="connsiteX85" fmla="*/ 953790 w 1364344"/>
              <a:gd name="connsiteY85" fmla="*/ 98884 h 162719"/>
              <a:gd name="connsiteX86" fmla="*/ 897463 w 1364344"/>
              <a:gd name="connsiteY86" fmla="*/ 137686 h 162719"/>
              <a:gd name="connsiteX87" fmla="*/ 1048918 w 1364344"/>
              <a:gd name="connsiteY87" fmla="*/ 53823 h 162719"/>
              <a:gd name="connsiteX88" fmla="*/ 1100238 w 1364344"/>
              <a:gd name="connsiteY88" fmla="*/ 135183 h 162719"/>
              <a:gd name="connsiteX89" fmla="*/ 1068945 w 1364344"/>
              <a:gd name="connsiteY89" fmla="*/ 135183 h 162719"/>
              <a:gd name="connsiteX90" fmla="*/ 1028891 w 1364344"/>
              <a:gd name="connsiteY90" fmla="*/ 71346 h 162719"/>
              <a:gd name="connsiteX91" fmla="*/ 1013871 w 1364344"/>
              <a:gd name="connsiteY91" fmla="*/ 86367 h 162719"/>
              <a:gd name="connsiteX92" fmla="*/ 1013871 w 1364344"/>
              <a:gd name="connsiteY92" fmla="*/ 135183 h 162719"/>
              <a:gd name="connsiteX93" fmla="*/ 990089 w 1364344"/>
              <a:gd name="connsiteY93" fmla="*/ 135183 h 162719"/>
              <a:gd name="connsiteX94" fmla="*/ 990089 w 1364344"/>
              <a:gd name="connsiteY94" fmla="*/ 3755 h 162719"/>
              <a:gd name="connsiteX95" fmla="*/ 1013871 w 1364344"/>
              <a:gd name="connsiteY95" fmla="*/ 3755 h 162719"/>
              <a:gd name="connsiteX96" fmla="*/ 1013871 w 1364344"/>
              <a:gd name="connsiteY96" fmla="*/ 56326 h 162719"/>
              <a:gd name="connsiteX97" fmla="*/ 1067694 w 1364344"/>
              <a:gd name="connsiteY97" fmla="*/ 3755 h 162719"/>
              <a:gd name="connsiteX98" fmla="*/ 1102741 w 1364344"/>
              <a:gd name="connsiteY98" fmla="*/ 3755 h 162719"/>
              <a:gd name="connsiteX99" fmla="*/ 1048918 w 1364344"/>
              <a:gd name="connsiteY99" fmla="*/ 53823 h 162719"/>
              <a:gd name="connsiteX100" fmla="*/ 1219148 w 1364344"/>
              <a:gd name="connsiteY100" fmla="*/ 112652 h 162719"/>
              <a:gd name="connsiteX101" fmla="*/ 1219148 w 1364344"/>
              <a:gd name="connsiteY101" fmla="*/ 135183 h 162719"/>
              <a:gd name="connsiteX102" fmla="*/ 1135285 w 1364344"/>
              <a:gd name="connsiteY102" fmla="*/ 135183 h 162719"/>
              <a:gd name="connsiteX103" fmla="*/ 1135285 w 1364344"/>
              <a:gd name="connsiteY103" fmla="*/ 3755 h 162719"/>
              <a:gd name="connsiteX104" fmla="*/ 1219148 w 1364344"/>
              <a:gd name="connsiteY104" fmla="*/ 3755 h 162719"/>
              <a:gd name="connsiteX105" fmla="*/ 1219148 w 1364344"/>
              <a:gd name="connsiteY105" fmla="*/ 25034 h 162719"/>
              <a:gd name="connsiteX106" fmla="*/ 1160319 w 1364344"/>
              <a:gd name="connsiteY106" fmla="*/ 25034 h 162719"/>
              <a:gd name="connsiteX107" fmla="*/ 1160319 w 1364344"/>
              <a:gd name="connsiteY107" fmla="*/ 57578 h 162719"/>
              <a:gd name="connsiteX108" fmla="*/ 1207883 w 1364344"/>
              <a:gd name="connsiteY108" fmla="*/ 57578 h 162719"/>
              <a:gd name="connsiteX109" fmla="*/ 1207883 w 1364344"/>
              <a:gd name="connsiteY109" fmla="*/ 78856 h 162719"/>
              <a:gd name="connsiteX110" fmla="*/ 1160319 w 1364344"/>
              <a:gd name="connsiteY110" fmla="*/ 78856 h 162719"/>
              <a:gd name="connsiteX111" fmla="*/ 1160319 w 1364344"/>
              <a:gd name="connsiteY111" fmla="*/ 112652 h 162719"/>
              <a:gd name="connsiteX112" fmla="*/ 1219148 w 1364344"/>
              <a:gd name="connsiteY112" fmla="*/ 112652 h 162719"/>
              <a:gd name="connsiteX113" fmla="*/ 1262958 w 1364344"/>
              <a:gd name="connsiteY113" fmla="*/ 135183 h 162719"/>
              <a:gd name="connsiteX114" fmla="*/ 1262958 w 1364344"/>
              <a:gd name="connsiteY114" fmla="*/ 3755 h 162719"/>
              <a:gd name="connsiteX115" fmla="*/ 1285488 w 1364344"/>
              <a:gd name="connsiteY115" fmla="*/ 3755 h 162719"/>
              <a:gd name="connsiteX116" fmla="*/ 1343066 w 1364344"/>
              <a:gd name="connsiteY116" fmla="*/ 86367 h 162719"/>
              <a:gd name="connsiteX117" fmla="*/ 1343066 w 1364344"/>
              <a:gd name="connsiteY117" fmla="*/ 3755 h 162719"/>
              <a:gd name="connsiteX118" fmla="*/ 1368100 w 1364344"/>
              <a:gd name="connsiteY118" fmla="*/ 3755 h 162719"/>
              <a:gd name="connsiteX119" fmla="*/ 1368100 w 1364344"/>
              <a:gd name="connsiteY119" fmla="*/ 135183 h 162719"/>
              <a:gd name="connsiteX120" fmla="*/ 1345569 w 1364344"/>
              <a:gd name="connsiteY120" fmla="*/ 135183 h 162719"/>
              <a:gd name="connsiteX121" fmla="*/ 1287991 w 1364344"/>
              <a:gd name="connsiteY121" fmla="*/ 52571 h 162719"/>
              <a:gd name="connsiteX122" fmla="*/ 1287991 w 1364344"/>
              <a:gd name="connsiteY122" fmla="*/ 135183 h 162719"/>
              <a:gd name="connsiteX123" fmla="*/ 1262958 w 1364344"/>
              <a:gd name="connsiteY123" fmla="*/ 135183 h 16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364344" h="162719">
                <a:moveTo>
                  <a:pt x="57578" y="3755"/>
                </a:moveTo>
                <a:cubicBezTo>
                  <a:pt x="85115" y="3755"/>
                  <a:pt x="100135" y="23782"/>
                  <a:pt x="100135" y="42557"/>
                </a:cubicBezTo>
                <a:cubicBezTo>
                  <a:pt x="100135" y="62585"/>
                  <a:pt x="86367" y="82612"/>
                  <a:pt x="57578" y="82612"/>
                </a:cubicBezTo>
                <a:lnTo>
                  <a:pt x="23782" y="82612"/>
                </a:lnTo>
                <a:lnTo>
                  <a:pt x="23782" y="135183"/>
                </a:lnTo>
                <a:lnTo>
                  <a:pt x="0" y="135183"/>
                </a:lnTo>
                <a:lnTo>
                  <a:pt x="0" y="3755"/>
                </a:lnTo>
                <a:lnTo>
                  <a:pt x="57578" y="3755"/>
                </a:lnTo>
                <a:close/>
                <a:moveTo>
                  <a:pt x="56326" y="61333"/>
                </a:moveTo>
                <a:cubicBezTo>
                  <a:pt x="68843" y="61333"/>
                  <a:pt x="73850" y="52571"/>
                  <a:pt x="73850" y="43809"/>
                </a:cubicBezTo>
                <a:cubicBezTo>
                  <a:pt x="73850" y="35047"/>
                  <a:pt x="67591" y="26285"/>
                  <a:pt x="56326" y="26285"/>
                </a:cubicBezTo>
                <a:lnTo>
                  <a:pt x="23782" y="26285"/>
                </a:lnTo>
                <a:lnTo>
                  <a:pt x="23782" y="61333"/>
                </a:lnTo>
                <a:lnTo>
                  <a:pt x="56326" y="61333"/>
                </a:lnTo>
                <a:close/>
                <a:moveTo>
                  <a:pt x="215291" y="112652"/>
                </a:moveTo>
                <a:lnTo>
                  <a:pt x="215291" y="135183"/>
                </a:lnTo>
                <a:lnTo>
                  <a:pt x="131428" y="135183"/>
                </a:lnTo>
                <a:lnTo>
                  <a:pt x="131428" y="3755"/>
                </a:lnTo>
                <a:lnTo>
                  <a:pt x="215291" y="3755"/>
                </a:lnTo>
                <a:lnTo>
                  <a:pt x="215291" y="25034"/>
                </a:lnTo>
                <a:lnTo>
                  <a:pt x="156462" y="25034"/>
                </a:lnTo>
                <a:lnTo>
                  <a:pt x="156462" y="57578"/>
                </a:lnTo>
                <a:lnTo>
                  <a:pt x="204026" y="57578"/>
                </a:lnTo>
                <a:lnTo>
                  <a:pt x="204026" y="78856"/>
                </a:lnTo>
                <a:lnTo>
                  <a:pt x="156462" y="78856"/>
                </a:lnTo>
                <a:lnTo>
                  <a:pt x="156462" y="112652"/>
                </a:lnTo>
                <a:lnTo>
                  <a:pt x="215291" y="112652"/>
                </a:lnTo>
                <a:close/>
                <a:moveTo>
                  <a:pt x="282882" y="112652"/>
                </a:moveTo>
                <a:lnTo>
                  <a:pt x="336705" y="112652"/>
                </a:lnTo>
                <a:lnTo>
                  <a:pt x="336705" y="135183"/>
                </a:lnTo>
                <a:lnTo>
                  <a:pt x="259100" y="135183"/>
                </a:lnTo>
                <a:lnTo>
                  <a:pt x="259100" y="3755"/>
                </a:lnTo>
                <a:lnTo>
                  <a:pt x="282882" y="3755"/>
                </a:lnTo>
                <a:lnTo>
                  <a:pt x="282882" y="112652"/>
                </a:lnTo>
                <a:close/>
                <a:moveTo>
                  <a:pt x="404297" y="137686"/>
                </a:moveTo>
                <a:cubicBezTo>
                  <a:pt x="383018" y="137686"/>
                  <a:pt x="361739" y="125169"/>
                  <a:pt x="357984" y="101387"/>
                </a:cubicBezTo>
                <a:lnTo>
                  <a:pt x="381766" y="95128"/>
                </a:lnTo>
                <a:cubicBezTo>
                  <a:pt x="383018" y="108897"/>
                  <a:pt x="394283" y="115155"/>
                  <a:pt x="405548" y="115155"/>
                </a:cubicBezTo>
                <a:cubicBezTo>
                  <a:pt x="415562" y="115155"/>
                  <a:pt x="424324" y="110149"/>
                  <a:pt x="424324" y="100135"/>
                </a:cubicBezTo>
                <a:cubicBezTo>
                  <a:pt x="424324" y="88870"/>
                  <a:pt x="414310" y="85115"/>
                  <a:pt x="401793" y="80108"/>
                </a:cubicBezTo>
                <a:cubicBezTo>
                  <a:pt x="384270" y="73850"/>
                  <a:pt x="362991" y="66340"/>
                  <a:pt x="362991" y="40054"/>
                </a:cubicBezTo>
                <a:cubicBezTo>
                  <a:pt x="362991" y="13769"/>
                  <a:pt x="383018" y="1252"/>
                  <a:pt x="403045" y="1252"/>
                </a:cubicBezTo>
                <a:cubicBezTo>
                  <a:pt x="419317" y="1252"/>
                  <a:pt x="436841" y="8762"/>
                  <a:pt x="443099" y="26285"/>
                </a:cubicBezTo>
                <a:lnTo>
                  <a:pt x="421820" y="36299"/>
                </a:lnTo>
                <a:cubicBezTo>
                  <a:pt x="419317" y="27537"/>
                  <a:pt x="410555" y="23782"/>
                  <a:pt x="404297" y="23782"/>
                </a:cubicBezTo>
                <a:cubicBezTo>
                  <a:pt x="395535" y="23782"/>
                  <a:pt x="388025" y="28789"/>
                  <a:pt x="388025" y="38802"/>
                </a:cubicBezTo>
                <a:cubicBezTo>
                  <a:pt x="388025" y="48816"/>
                  <a:pt x="398038" y="53823"/>
                  <a:pt x="409303" y="58829"/>
                </a:cubicBezTo>
                <a:cubicBezTo>
                  <a:pt x="426827" y="65088"/>
                  <a:pt x="448106" y="71346"/>
                  <a:pt x="448106" y="98884"/>
                </a:cubicBezTo>
                <a:cubicBezTo>
                  <a:pt x="448106" y="123917"/>
                  <a:pt x="425575" y="137686"/>
                  <a:pt x="404297" y="137686"/>
                </a:cubicBezTo>
                <a:close/>
                <a:moveTo>
                  <a:pt x="628350" y="135183"/>
                </a:moveTo>
                <a:lnTo>
                  <a:pt x="597057" y="82612"/>
                </a:lnTo>
                <a:lnTo>
                  <a:pt x="573275" y="82612"/>
                </a:lnTo>
                <a:lnTo>
                  <a:pt x="573275" y="135183"/>
                </a:lnTo>
                <a:lnTo>
                  <a:pt x="549493" y="135183"/>
                </a:lnTo>
                <a:lnTo>
                  <a:pt x="549493" y="3755"/>
                </a:lnTo>
                <a:lnTo>
                  <a:pt x="607071" y="3755"/>
                </a:lnTo>
                <a:cubicBezTo>
                  <a:pt x="634608" y="3755"/>
                  <a:pt x="648377" y="22530"/>
                  <a:pt x="648377" y="41306"/>
                </a:cubicBezTo>
                <a:cubicBezTo>
                  <a:pt x="648377" y="56326"/>
                  <a:pt x="638363" y="71346"/>
                  <a:pt x="620839" y="76353"/>
                </a:cubicBezTo>
                <a:lnTo>
                  <a:pt x="657138" y="135183"/>
                </a:lnTo>
                <a:lnTo>
                  <a:pt x="628350" y="135183"/>
                </a:lnTo>
                <a:close/>
                <a:moveTo>
                  <a:pt x="622091" y="42557"/>
                </a:moveTo>
                <a:cubicBezTo>
                  <a:pt x="622091" y="33796"/>
                  <a:pt x="615833" y="26285"/>
                  <a:pt x="603316" y="26285"/>
                </a:cubicBezTo>
                <a:lnTo>
                  <a:pt x="573275" y="26285"/>
                </a:lnTo>
                <a:lnTo>
                  <a:pt x="573275" y="61333"/>
                </a:lnTo>
                <a:lnTo>
                  <a:pt x="602064" y="61333"/>
                </a:lnTo>
                <a:cubicBezTo>
                  <a:pt x="614581" y="61333"/>
                  <a:pt x="622091" y="51319"/>
                  <a:pt x="622091" y="42557"/>
                </a:cubicBezTo>
                <a:close/>
                <a:moveTo>
                  <a:pt x="720975" y="135183"/>
                </a:moveTo>
                <a:lnTo>
                  <a:pt x="695941" y="135183"/>
                </a:lnTo>
                <a:lnTo>
                  <a:pt x="695941" y="3755"/>
                </a:lnTo>
                <a:lnTo>
                  <a:pt x="720975" y="3755"/>
                </a:lnTo>
                <a:lnTo>
                  <a:pt x="720975" y="135183"/>
                </a:lnTo>
                <a:close/>
                <a:moveTo>
                  <a:pt x="794825" y="168978"/>
                </a:moveTo>
                <a:lnTo>
                  <a:pt x="769791" y="168978"/>
                </a:lnTo>
                <a:lnTo>
                  <a:pt x="769791" y="37551"/>
                </a:lnTo>
                <a:lnTo>
                  <a:pt x="794825" y="37551"/>
                </a:lnTo>
                <a:lnTo>
                  <a:pt x="794825" y="168978"/>
                </a:lnTo>
                <a:close/>
                <a:moveTo>
                  <a:pt x="897463" y="137686"/>
                </a:moveTo>
                <a:cubicBezTo>
                  <a:pt x="867423" y="137686"/>
                  <a:pt x="836131" y="115155"/>
                  <a:pt x="836131" y="68843"/>
                </a:cubicBezTo>
                <a:cubicBezTo>
                  <a:pt x="836131" y="22530"/>
                  <a:pt x="867423" y="0"/>
                  <a:pt x="897463" y="0"/>
                </a:cubicBezTo>
                <a:cubicBezTo>
                  <a:pt x="919994" y="0"/>
                  <a:pt x="941273" y="12517"/>
                  <a:pt x="948783" y="36299"/>
                </a:cubicBezTo>
                <a:lnTo>
                  <a:pt x="926252" y="45061"/>
                </a:lnTo>
                <a:cubicBezTo>
                  <a:pt x="922497" y="31292"/>
                  <a:pt x="909980" y="23782"/>
                  <a:pt x="897463" y="23782"/>
                </a:cubicBezTo>
                <a:cubicBezTo>
                  <a:pt x="879940" y="23782"/>
                  <a:pt x="861164" y="37551"/>
                  <a:pt x="861164" y="68843"/>
                </a:cubicBezTo>
                <a:cubicBezTo>
                  <a:pt x="861164" y="98884"/>
                  <a:pt x="878688" y="113904"/>
                  <a:pt x="897463" y="113904"/>
                </a:cubicBezTo>
                <a:cubicBezTo>
                  <a:pt x="912484" y="113904"/>
                  <a:pt x="927504" y="105142"/>
                  <a:pt x="932511" y="87618"/>
                </a:cubicBezTo>
                <a:lnTo>
                  <a:pt x="953790" y="98884"/>
                </a:lnTo>
                <a:cubicBezTo>
                  <a:pt x="945028" y="125169"/>
                  <a:pt x="921246" y="137686"/>
                  <a:pt x="897463" y="137686"/>
                </a:cubicBezTo>
                <a:close/>
                <a:moveTo>
                  <a:pt x="1048918" y="53823"/>
                </a:moveTo>
                <a:lnTo>
                  <a:pt x="1100238" y="135183"/>
                </a:lnTo>
                <a:lnTo>
                  <a:pt x="1068945" y="135183"/>
                </a:lnTo>
                <a:lnTo>
                  <a:pt x="1028891" y="71346"/>
                </a:lnTo>
                <a:lnTo>
                  <a:pt x="1013871" y="86367"/>
                </a:lnTo>
                <a:lnTo>
                  <a:pt x="1013871" y="135183"/>
                </a:lnTo>
                <a:lnTo>
                  <a:pt x="990089" y="135183"/>
                </a:lnTo>
                <a:lnTo>
                  <a:pt x="990089" y="3755"/>
                </a:lnTo>
                <a:lnTo>
                  <a:pt x="1013871" y="3755"/>
                </a:lnTo>
                <a:lnTo>
                  <a:pt x="1013871" y="56326"/>
                </a:lnTo>
                <a:lnTo>
                  <a:pt x="1067694" y="3755"/>
                </a:lnTo>
                <a:lnTo>
                  <a:pt x="1102741" y="3755"/>
                </a:lnTo>
                <a:lnTo>
                  <a:pt x="1048918" y="53823"/>
                </a:lnTo>
                <a:close/>
                <a:moveTo>
                  <a:pt x="1219148" y="112652"/>
                </a:moveTo>
                <a:lnTo>
                  <a:pt x="1219148" y="135183"/>
                </a:lnTo>
                <a:lnTo>
                  <a:pt x="1135285" y="135183"/>
                </a:lnTo>
                <a:lnTo>
                  <a:pt x="1135285" y="3755"/>
                </a:lnTo>
                <a:lnTo>
                  <a:pt x="1219148" y="3755"/>
                </a:lnTo>
                <a:lnTo>
                  <a:pt x="1219148" y="25034"/>
                </a:lnTo>
                <a:lnTo>
                  <a:pt x="1160319" y="25034"/>
                </a:lnTo>
                <a:lnTo>
                  <a:pt x="1160319" y="57578"/>
                </a:lnTo>
                <a:lnTo>
                  <a:pt x="1207883" y="57578"/>
                </a:lnTo>
                <a:lnTo>
                  <a:pt x="1207883" y="78856"/>
                </a:lnTo>
                <a:lnTo>
                  <a:pt x="1160319" y="78856"/>
                </a:lnTo>
                <a:lnTo>
                  <a:pt x="1160319" y="112652"/>
                </a:lnTo>
                <a:lnTo>
                  <a:pt x="1219148" y="112652"/>
                </a:lnTo>
                <a:close/>
                <a:moveTo>
                  <a:pt x="1262958" y="135183"/>
                </a:moveTo>
                <a:lnTo>
                  <a:pt x="1262958" y="3755"/>
                </a:lnTo>
                <a:lnTo>
                  <a:pt x="1285488" y="3755"/>
                </a:lnTo>
                <a:lnTo>
                  <a:pt x="1343066" y="86367"/>
                </a:lnTo>
                <a:lnTo>
                  <a:pt x="1343066" y="3755"/>
                </a:lnTo>
                <a:lnTo>
                  <a:pt x="1368100" y="3755"/>
                </a:lnTo>
                <a:lnTo>
                  <a:pt x="1368100" y="135183"/>
                </a:lnTo>
                <a:lnTo>
                  <a:pt x="1345569" y="135183"/>
                </a:lnTo>
                <a:lnTo>
                  <a:pt x="1287991" y="52571"/>
                </a:lnTo>
                <a:lnTo>
                  <a:pt x="1287991" y="135183"/>
                </a:lnTo>
                <a:lnTo>
                  <a:pt x="1262958" y="135183"/>
                </a:lnTo>
                <a:close/>
              </a:path>
            </a:pathLst>
          </a:custGeom>
          <a:solidFill>
            <a:srgbClr val="005A70"/>
          </a:solidFill>
          <a:ln w="12456" cap="flat">
            <a:noFill/>
            <a:prstDash val="solid"/>
            <a:miter/>
          </a:ln>
        </p:spPr>
        <p:txBody>
          <a:bodyPr rtlCol="0" anchor="ctr"/>
          <a:lstStyle/>
          <a:p>
            <a:endParaRPr lang="nl-NL" sz="18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52024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1" y="731069"/>
            <a:ext cx="8278812" cy="249299"/>
          </a:xfrm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33746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1800" kern="1200" cap="none" spc="24" baseline="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F58CED-6FD8-46B7-8756-B6F44B94DD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1" y="1307133"/>
            <a:ext cx="3959406" cy="1538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lnSpc>
                <a:spcPct val="150000"/>
              </a:lnSpc>
              <a:defRPr sz="1050">
                <a:solidFill>
                  <a:schemeClr val="bg2"/>
                </a:solidFill>
                <a:latin typeface="+mn-lt"/>
              </a:defRPr>
            </a:lvl2pPr>
            <a:lvl3pPr>
              <a:lnSpc>
                <a:spcPct val="150000"/>
              </a:lnSpc>
              <a:defRPr sz="1050">
                <a:solidFill>
                  <a:schemeClr val="bg2"/>
                </a:solidFill>
                <a:latin typeface="+mn-lt"/>
              </a:defRPr>
            </a:lvl3pPr>
            <a:lvl4pPr>
              <a:lnSpc>
                <a:spcPct val="150000"/>
              </a:lnSpc>
              <a:defRPr sz="1050">
                <a:solidFill>
                  <a:schemeClr val="bg2"/>
                </a:solidFill>
                <a:latin typeface="+mn-lt"/>
              </a:defRPr>
            </a:lvl4pPr>
            <a:lvl5pPr>
              <a:lnSpc>
                <a:spcPct val="150000"/>
              </a:lnSpc>
              <a:defRPr sz="105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96ED453-A9C4-400C-8C81-75DFBAB0D7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79767" y="1307133"/>
            <a:ext cx="3959406" cy="1538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lnSpc>
                <a:spcPct val="150000"/>
              </a:lnSpc>
              <a:defRPr sz="1050">
                <a:solidFill>
                  <a:schemeClr val="bg2"/>
                </a:solidFill>
                <a:latin typeface="+mn-lt"/>
              </a:defRPr>
            </a:lvl2pPr>
            <a:lvl3pPr>
              <a:lnSpc>
                <a:spcPct val="150000"/>
              </a:lnSpc>
              <a:defRPr sz="1050">
                <a:solidFill>
                  <a:schemeClr val="bg2"/>
                </a:solidFill>
                <a:latin typeface="+mn-lt"/>
              </a:defRPr>
            </a:lvl3pPr>
            <a:lvl4pPr>
              <a:lnSpc>
                <a:spcPct val="150000"/>
              </a:lnSpc>
              <a:defRPr sz="1050">
                <a:solidFill>
                  <a:schemeClr val="bg2"/>
                </a:solidFill>
                <a:latin typeface="+mn-lt"/>
              </a:defRPr>
            </a:lvl4pPr>
            <a:lvl5pPr>
              <a:lnSpc>
                <a:spcPct val="150000"/>
              </a:lnSpc>
              <a:defRPr sz="105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8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361" y="4475485"/>
            <a:ext cx="8278812" cy="126573"/>
          </a:xfrm>
          <a:prstGeom prst="rect">
            <a:avLst/>
          </a:prstGeom>
        </p:spPr>
        <p:txBody>
          <a:bodyPr tIns="0"/>
          <a:lstStyle>
            <a:lvl1pPr algn="l">
              <a:defRPr sz="800" b="0" cap="none" spc="4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6" name="Tijdelijke aanduiding voor dianummer 3">
            <a:extLst>
              <a:ext uri="{FF2B5EF4-FFF2-40B4-BE49-F238E27FC236}">
                <a16:creationId xmlns:a16="http://schemas.microsoft.com/office/drawing/2014/main" id="{217F4D87-BAEF-40E3-935D-950270B002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772725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4" y="731070"/>
            <a:ext cx="8278812" cy="24929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m te bewerke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F58CED-6FD8-46B7-8756-B6F44B94DD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6" y="1307133"/>
            <a:ext cx="8278810" cy="153888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lnSpc>
                <a:spcPct val="150000"/>
              </a:lnSpc>
              <a:defRPr sz="1050" b="0">
                <a:solidFill>
                  <a:schemeClr val="bg2"/>
                </a:solidFill>
                <a:latin typeface="+mn-lt"/>
              </a:defRPr>
            </a:lvl2pPr>
            <a:lvl3pPr>
              <a:lnSpc>
                <a:spcPct val="150000"/>
              </a:lnSpc>
              <a:defRPr sz="1050" b="0">
                <a:solidFill>
                  <a:schemeClr val="bg2"/>
                </a:solidFill>
                <a:latin typeface="+mn-lt"/>
              </a:defRPr>
            </a:lvl3pPr>
            <a:lvl4pPr>
              <a:lnSpc>
                <a:spcPct val="150000"/>
              </a:lnSpc>
              <a:defRPr sz="1050" b="0">
                <a:solidFill>
                  <a:schemeClr val="bg2"/>
                </a:solidFill>
                <a:latin typeface="+mn-lt"/>
              </a:defRPr>
            </a:lvl4pPr>
            <a:lvl5pPr>
              <a:lnSpc>
                <a:spcPct val="150000"/>
              </a:lnSpc>
              <a:defRPr sz="1050" b="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nl-NL"/>
              <a:t>Klik om te bewerken</a:t>
            </a:r>
          </a:p>
        </p:txBody>
      </p:sp>
      <p:sp>
        <p:nvSpPr>
          <p:cNvPr id="8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4475486"/>
            <a:ext cx="8278812" cy="126573"/>
          </a:xfrm>
          <a:prstGeom prst="rect">
            <a:avLst/>
          </a:prstGeom>
        </p:spPr>
        <p:txBody>
          <a:bodyPr tIns="0"/>
          <a:lstStyle>
            <a:lvl1pPr algn="l">
              <a:defRPr sz="800" b="0" cap="none" spc="4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/>
              <a:t>Subtitel presentatie</a:t>
            </a:r>
          </a:p>
        </p:txBody>
      </p:sp>
      <p:sp>
        <p:nvSpPr>
          <p:cNvPr id="6" name="Tijdelijke aanduiding voor dianummer 3">
            <a:extLst>
              <a:ext uri="{FF2B5EF4-FFF2-40B4-BE49-F238E27FC236}">
                <a16:creationId xmlns:a16="http://schemas.microsoft.com/office/drawing/2014/main" id="{1A6EF8C0-C9B5-4BDA-86D1-4B02D0B224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70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891465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363" y="731069"/>
            <a:ext cx="8278812" cy="249299"/>
          </a:xfrm>
        </p:spPr>
        <p:txBody>
          <a:bodyPr/>
          <a:lstStyle>
            <a:lvl1pPr marL="0" algn="l" defTabSz="33746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NL" sz="1800" kern="1200" cap="none" spc="24" baseline="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algn="l" defTabSz="33746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nl-NL" dirty="0"/>
              <a:t>Klik om te bewerken</a:t>
            </a:r>
          </a:p>
        </p:txBody>
      </p:sp>
      <p:sp>
        <p:nvSpPr>
          <p:cNvPr id="3" name="Tijdelijke aanduiding voor dianummer 3">
            <a:extLst>
              <a:ext uri="{FF2B5EF4-FFF2-40B4-BE49-F238E27FC236}">
                <a16:creationId xmlns:a16="http://schemas.microsoft.com/office/drawing/2014/main" id="{589F316D-529E-4EE9-8619-473897096B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212389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3" y="731069"/>
            <a:ext cx="8278812" cy="24929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F58CED-6FD8-46B7-8756-B6F44B94DD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5" y="1307133"/>
            <a:ext cx="8278810" cy="153888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lnSpc>
                <a:spcPct val="150000"/>
              </a:lnSpc>
              <a:defRPr sz="1050" b="0">
                <a:solidFill>
                  <a:schemeClr val="bg2"/>
                </a:solidFill>
                <a:latin typeface="+mn-lt"/>
              </a:defRPr>
            </a:lvl2pPr>
            <a:lvl3pPr>
              <a:lnSpc>
                <a:spcPct val="150000"/>
              </a:lnSpc>
              <a:defRPr sz="1050" b="0">
                <a:solidFill>
                  <a:schemeClr val="bg2"/>
                </a:solidFill>
                <a:latin typeface="+mn-lt"/>
              </a:defRPr>
            </a:lvl3pPr>
            <a:lvl4pPr>
              <a:lnSpc>
                <a:spcPct val="150000"/>
              </a:lnSpc>
              <a:defRPr sz="1050" b="0">
                <a:solidFill>
                  <a:schemeClr val="bg2"/>
                </a:solidFill>
                <a:latin typeface="+mn-lt"/>
              </a:defRPr>
            </a:lvl4pPr>
            <a:lvl5pPr>
              <a:lnSpc>
                <a:spcPct val="150000"/>
              </a:lnSpc>
              <a:defRPr sz="1050" b="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8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363" y="4475485"/>
            <a:ext cx="8278812" cy="126573"/>
          </a:xfrm>
          <a:prstGeom prst="rect">
            <a:avLst/>
          </a:prstGeom>
        </p:spPr>
        <p:txBody>
          <a:bodyPr tIns="0"/>
          <a:lstStyle>
            <a:lvl1pPr algn="l">
              <a:defRPr sz="800" b="0" cap="none" spc="4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6" name="Tijdelijke aanduiding voor dianummer 3">
            <a:extLst>
              <a:ext uri="{FF2B5EF4-FFF2-40B4-BE49-F238E27FC236}">
                <a16:creationId xmlns:a16="http://schemas.microsoft.com/office/drawing/2014/main" id="{1A6EF8C0-C9B5-4BDA-86D1-4B02D0B224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130388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804" y="731069"/>
            <a:ext cx="8278812" cy="24929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7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804" y="4475485"/>
            <a:ext cx="8278812" cy="126573"/>
          </a:xfrm>
          <a:prstGeom prst="rect">
            <a:avLst/>
          </a:prstGeom>
        </p:spPr>
        <p:txBody>
          <a:bodyPr tIns="0"/>
          <a:lstStyle>
            <a:lvl1pPr algn="l">
              <a:defRPr sz="800" b="0" cap="none" spc="4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956B87EE-C520-4125-B303-B3ED14000B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747093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fil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834" y="729585"/>
            <a:ext cx="8278812" cy="24929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AA1313A7-BA1D-4A42-8AED-98151A6B69F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59834" y="1232339"/>
            <a:ext cx="1584000" cy="90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6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28437EB-4224-43B1-BCB5-6DBDFACECB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59835" y="1607873"/>
            <a:ext cx="2160000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09B9A0-6364-4969-ABD3-B1CD6E7AA97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159835" y="1225991"/>
            <a:ext cx="2843990" cy="15818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, functie • partner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CBEAFB5-893C-4B0D-9E5B-BCD8441933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59835" y="1440332"/>
            <a:ext cx="2160000" cy="11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93B5D66-EE24-4700-A9A6-9EAE7B9214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9834" y="2312339"/>
            <a:ext cx="8278812" cy="153888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lnSpc>
                <a:spcPct val="100000"/>
              </a:lnSpc>
              <a:defRPr sz="1000" b="0" cap="none" spc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lnSpc>
                <a:spcPct val="150000"/>
              </a:lnSpc>
              <a:defRPr sz="900">
                <a:solidFill>
                  <a:schemeClr val="bg2"/>
                </a:solidFill>
              </a:defRPr>
            </a:lvl2pPr>
            <a:lvl3pPr>
              <a:lnSpc>
                <a:spcPct val="150000"/>
              </a:lnSpc>
              <a:defRPr sz="900">
                <a:solidFill>
                  <a:schemeClr val="bg2"/>
                </a:solidFill>
              </a:defRPr>
            </a:lvl3pPr>
            <a:lvl4pPr>
              <a:lnSpc>
                <a:spcPct val="150000"/>
              </a:lnSpc>
              <a:defRPr sz="900">
                <a:solidFill>
                  <a:schemeClr val="bg2"/>
                </a:solidFill>
              </a:defRPr>
            </a:lvl4pPr>
            <a:lvl5pPr>
              <a:lnSpc>
                <a:spcPct val="150000"/>
              </a:lnSpc>
              <a:defRPr sz="9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Klik</a:t>
            </a:r>
            <a:r>
              <a:rPr lang="en-GB" dirty="0"/>
              <a:t> om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</p:txBody>
      </p:sp>
      <p:sp>
        <p:nvSpPr>
          <p:cNvPr id="22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834" y="4547493"/>
            <a:ext cx="8280000" cy="126573"/>
          </a:xfrm>
          <a:prstGeom prst="rect">
            <a:avLst/>
          </a:prstGeom>
        </p:spPr>
        <p:txBody>
          <a:bodyPr tIns="0"/>
          <a:lstStyle>
            <a:lvl1pPr algn="l">
              <a:defRPr sz="800" b="0" cap="none" spc="4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11" name="Tijdelijke aanduiding voor dianummer 3">
            <a:extLst>
              <a:ext uri="{FF2B5EF4-FFF2-40B4-BE49-F238E27FC236}">
                <a16:creationId xmlns:a16="http://schemas.microsoft.com/office/drawing/2014/main" id="{BCE6DD61-23AD-470F-97F6-7ADD5499F9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5810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834" y="727059"/>
            <a:ext cx="8278812" cy="24929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AA1313A7-BA1D-4A42-8AED-98151A6B69F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59834" y="1232339"/>
            <a:ext cx="1584000" cy="90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6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09B9A0-6364-4969-ABD3-B1CD6E7AA97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159835" y="1225991"/>
            <a:ext cx="2160000" cy="15840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93B5D66-EE24-4700-A9A6-9EAE7B9214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9834" y="2312339"/>
            <a:ext cx="3960363" cy="153888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lnSpc>
                <a:spcPct val="100000"/>
              </a:lnSpc>
              <a:defRPr sz="1000" b="0" cap="none" spc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lnSpc>
                <a:spcPct val="150000"/>
              </a:lnSpc>
              <a:defRPr sz="900">
                <a:solidFill>
                  <a:schemeClr val="bg2"/>
                </a:solidFill>
              </a:defRPr>
            </a:lvl2pPr>
            <a:lvl3pPr>
              <a:lnSpc>
                <a:spcPct val="150000"/>
              </a:lnSpc>
              <a:defRPr sz="900">
                <a:solidFill>
                  <a:schemeClr val="bg2"/>
                </a:solidFill>
              </a:defRPr>
            </a:lvl3pPr>
            <a:lvl4pPr>
              <a:lnSpc>
                <a:spcPct val="150000"/>
              </a:lnSpc>
              <a:defRPr sz="900">
                <a:solidFill>
                  <a:schemeClr val="bg2"/>
                </a:solidFill>
              </a:defRPr>
            </a:lvl4pPr>
            <a:lvl5pPr>
              <a:lnSpc>
                <a:spcPct val="150000"/>
              </a:lnSpc>
              <a:defRPr sz="9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Klik</a:t>
            </a:r>
            <a:r>
              <a:rPr lang="en-GB" dirty="0"/>
              <a:t> om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</p:txBody>
      </p:sp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7C0BB3A2-C941-4921-ADAA-EF7447C7FD0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693072" y="1232339"/>
            <a:ext cx="1584000" cy="90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6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B46AADE-A1E4-4AA3-B12A-98BB3BAAC4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79343" y="2312338"/>
            <a:ext cx="3960363" cy="153888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lnSpc>
                <a:spcPct val="100000"/>
              </a:lnSpc>
              <a:defRPr sz="1000" b="0" cap="none" spc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lnSpc>
                <a:spcPct val="150000"/>
              </a:lnSpc>
              <a:defRPr sz="900">
                <a:solidFill>
                  <a:schemeClr val="bg2"/>
                </a:solidFill>
              </a:defRPr>
            </a:lvl2pPr>
            <a:lvl3pPr>
              <a:lnSpc>
                <a:spcPct val="150000"/>
              </a:lnSpc>
              <a:defRPr sz="900">
                <a:solidFill>
                  <a:schemeClr val="bg2"/>
                </a:solidFill>
              </a:defRPr>
            </a:lvl3pPr>
            <a:lvl4pPr>
              <a:lnSpc>
                <a:spcPct val="150000"/>
              </a:lnSpc>
              <a:defRPr sz="900">
                <a:solidFill>
                  <a:schemeClr val="bg2"/>
                </a:solidFill>
              </a:defRPr>
            </a:lvl4pPr>
            <a:lvl5pPr>
              <a:lnSpc>
                <a:spcPct val="150000"/>
              </a:lnSpc>
              <a:defRPr sz="9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Klik</a:t>
            </a:r>
            <a:r>
              <a:rPr lang="en-GB" dirty="0"/>
              <a:t> om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</p:txBody>
      </p:sp>
      <p:sp>
        <p:nvSpPr>
          <p:cNvPr id="22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834" y="4547493"/>
            <a:ext cx="8280000" cy="126573"/>
          </a:xfrm>
          <a:prstGeom prst="rect">
            <a:avLst/>
          </a:prstGeom>
        </p:spPr>
        <p:txBody>
          <a:bodyPr tIns="0"/>
          <a:lstStyle>
            <a:lvl1pPr algn="l">
              <a:defRPr sz="800" b="0" cap="none" spc="4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B5F08FFD-149D-4CBB-9B34-8DACDADF84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59835" y="1607873"/>
            <a:ext cx="2160000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94455E71-FC00-465E-9166-1A2081F5A4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59835" y="1440332"/>
            <a:ext cx="2160000" cy="11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functie • partner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0BA1CE7F-B848-43B5-9B47-6F0D5FDD3D5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159835" y="1774550"/>
            <a:ext cx="2160000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ED5990BE-F8A0-4958-9890-87E80561DD0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78646" y="1225991"/>
            <a:ext cx="2160000" cy="15840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03F652D9-DD2A-4CB4-A3BF-E621D34046D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478646" y="1607873"/>
            <a:ext cx="2160000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69B0E2E6-32CC-4078-A87A-A19CF9914F7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478646" y="1440332"/>
            <a:ext cx="2160000" cy="11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functie • partner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5FF9450-CAFE-4015-A8CF-99D0B5480F0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78646" y="1774550"/>
            <a:ext cx="2160000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17" name="Tijdelijke aanduiding voor dianummer 3">
            <a:extLst>
              <a:ext uri="{FF2B5EF4-FFF2-40B4-BE49-F238E27FC236}">
                <a16:creationId xmlns:a16="http://schemas.microsoft.com/office/drawing/2014/main" id="{9C8DCE95-59C1-41F0-AA1E-F73664FE73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576522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224" y="722860"/>
            <a:ext cx="8280000" cy="24929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47E3A462-D315-4B2B-B9CE-4F780634988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59224" y="1307133"/>
            <a:ext cx="1800000" cy="1027034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6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6F44AB8-D89F-4009-AE01-04A7F84E299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59224" y="2747134"/>
            <a:ext cx="1800000" cy="1026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6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48AE7902-DB5B-4F19-9621-13C9927C5866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678993" y="1307133"/>
            <a:ext cx="1800000" cy="1026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6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68C597C9-C144-4E70-AECA-FC941315E95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678993" y="2747133"/>
            <a:ext cx="1800000" cy="1026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6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32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224" y="4509816"/>
            <a:ext cx="8280000" cy="126573"/>
          </a:xfrm>
          <a:prstGeom prst="rect">
            <a:avLst/>
          </a:prstGeom>
        </p:spPr>
        <p:txBody>
          <a:bodyPr tIns="0"/>
          <a:lstStyle>
            <a:lvl1pPr algn="l">
              <a:defRPr sz="800" b="0" cap="none" spc="4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E5BBDFCE-0DE6-4C75-BF9F-41CE5577DE9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23850" y="1305074"/>
            <a:ext cx="1995143" cy="15840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88EF672C-6873-44AE-9D03-D51B019FE6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23850" y="1686956"/>
            <a:ext cx="1995143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263D923-F3DC-49DE-A2E8-4D393C96781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23850" y="1519415"/>
            <a:ext cx="1995143" cy="11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functie • partner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0047A88-A025-463A-969D-84A4B1FFA54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323850" y="1853633"/>
            <a:ext cx="1995143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460F0B63-172E-44BF-B5E8-75DADA9E6B7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660363" y="1316045"/>
            <a:ext cx="1978861" cy="15840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902E87A6-C559-495A-B463-5BE365F2843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660363" y="1697927"/>
            <a:ext cx="1978861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2A6679B7-502C-48D0-9A92-D29E6F2560A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660363" y="1530386"/>
            <a:ext cx="1978861" cy="11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functie • partner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7ED38C42-306F-4F44-B934-4DD21518509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60363" y="1864604"/>
            <a:ext cx="1978861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E1B7465-7D3E-4EC9-9EF0-313F97B4B37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323850" y="2742894"/>
            <a:ext cx="1995143" cy="15840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EC4C5BC9-0C6D-4BB5-BA1A-E5CDA75F03D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23850" y="3124776"/>
            <a:ext cx="1995143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82D5E56B-C01D-4862-9BD8-CCE23FF8947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323850" y="2957235"/>
            <a:ext cx="1995143" cy="11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functie • partner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5E1A7D0E-36AA-48BC-AAE9-DE9277F0514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23850" y="3291453"/>
            <a:ext cx="1995143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38DE2B8E-C466-4551-B0A4-51D12A305E3F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660363" y="2736803"/>
            <a:ext cx="1995143" cy="15840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00" b="0" cap="none" spc="4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4F3286BB-6987-4082-A6B5-5FB50308ED8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660363" y="3118685"/>
            <a:ext cx="1995143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B1F63256-16C9-4915-83C2-BED35F03E2E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660363" y="2951144"/>
            <a:ext cx="1995143" cy="11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functie • partner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6672D847-F3DD-40DF-B676-9600537A063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660363" y="3285362"/>
            <a:ext cx="1995143" cy="110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00" spc="40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24" name="Tijdelijke aanduiding voor dianummer 3">
            <a:extLst>
              <a:ext uri="{FF2B5EF4-FFF2-40B4-BE49-F238E27FC236}">
                <a16:creationId xmlns:a16="http://schemas.microsoft.com/office/drawing/2014/main" id="{EFB2C7DE-5816-4A3D-8090-900F9FE788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917764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363" y="738695"/>
            <a:ext cx="8278812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 err="1"/>
              <a:t>Klik</a:t>
            </a:r>
            <a:r>
              <a:rPr lang="en-US" dirty="0"/>
              <a:t> om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363" y="1307133"/>
            <a:ext cx="8278812" cy="17549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nl-NL" dirty="0"/>
              <a:t>Klik om te bewerken</a:t>
            </a:r>
          </a:p>
          <a:p>
            <a:pPr lvl="1"/>
            <a:r>
              <a:rPr lang="nl-NL" dirty="0"/>
              <a:t>Niveau 1</a:t>
            </a:r>
          </a:p>
          <a:p>
            <a:pPr lvl="2"/>
            <a:r>
              <a:rPr lang="nl-NL" dirty="0"/>
              <a:t>Niveau 2</a:t>
            </a:r>
          </a:p>
          <a:p>
            <a:pPr lvl="3"/>
            <a:r>
              <a:rPr lang="nl-NL" dirty="0"/>
              <a:t>Niveau 3</a:t>
            </a:r>
          </a:p>
          <a:p>
            <a:pPr lvl="4"/>
            <a:r>
              <a:rPr lang="nl-NL" dirty="0"/>
              <a:t>Niveau 4</a:t>
            </a:r>
          </a:p>
          <a:p>
            <a:pPr lvl="5"/>
            <a:r>
              <a:rPr lang="nl-NL" dirty="0"/>
              <a:t>Niveau 5</a:t>
            </a:r>
          </a:p>
          <a:p>
            <a:pPr lvl="6"/>
            <a:r>
              <a:rPr lang="nl-NL" dirty="0"/>
              <a:t>Niveau 6</a:t>
            </a:r>
          </a:p>
          <a:p>
            <a:pPr lvl="7"/>
            <a:r>
              <a:rPr lang="nl-NL" dirty="0"/>
              <a:t>Niveau 7</a:t>
            </a:r>
          </a:p>
          <a:p>
            <a:pPr lvl="8"/>
            <a:r>
              <a:rPr lang="nl-NL" dirty="0"/>
              <a:t>Niveau 8</a:t>
            </a:r>
          </a:p>
        </p:txBody>
      </p:sp>
      <p:grpSp>
        <p:nvGrpSpPr>
          <p:cNvPr id="6" name="Graphic 4">
            <a:extLst>
              <a:ext uri="{FF2B5EF4-FFF2-40B4-BE49-F238E27FC236}">
                <a16:creationId xmlns:a16="http://schemas.microsoft.com/office/drawing/2014/main" id="{A45EEEFF-978E-426E-946B-5B7693FD320C}"/>
              </a:ext>
            </a:extLst>
          </p:cNvPr>
          <p:cNvGrpSpPr/>
          <p:nvPr/>
        </p:nvGrpSpPr>
        <p:grpSpPr>
          <a:xfrm>
            <a:off x="4434969" y="157968"/>
            <a:ext cx="129600" cy="210604"/>
            <a:chOff x="4715793" y="157968"/>
            <a:chExt cx="129600" cy="210604"/>
          </a:xfrm>
        </p:grpSpPr>
        <p:sp>
          <p:nvSpPr>
            <p:cNvPr id="7" name="Vrije vorm: vorm 6">
              <a:extLst>
                <a:ext uri="{FF2B5EF4-FFF2-40B4-BE49-F238E27FC236}">
                  <a16:creationId xmlns:a16="http://schemas.microsoft.com/office/drawing/2014/main" id="{C36E5D93-E065-43F6-88A3-EE7EECD7F8F9}"/>
                </a:ext>
              </a:extLst>
            </p:cNvPr>
            <p:cNvSpPr/>
            <p:nvPr/>
          </p:nvSpPr>
          <p:spPr>
            <a:xfrm>
              <a:off x="4716279" y="157968"/>
              <a:ext cx="32400" cy="162003"/>
            </a:xfrm>
            <a:custGeom>
              <a:avLst/>
              <a:gdLst>
                <a:gd name="connsiteX0" fmla="*/ 32400 w 32400"/>
                <a:gd name="connsiteY0" fmla="*/ 169455 h 162003"/>
                <a:gd name="connsiteX1" fmla="*/ 0 w 32400"/>
                <a:gd name="connsiteY1" fmla="*/ 169455 h 162003"/>
                <a:gd name="connsiteX2" fmla="*/ 0 w 32400"/>
                <a:gd name="connsiteY2" fmla="*/ 0 h 162003"/>
                <a:gd name="connsiteX3" fmla="*/ 32400 w 32400"/>
                <a:gd name="connsiteY3" fmla="*/ 0 h 162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00" h="162003">
                  <a:moveTo>
                    <a:pt x="32400" y="169455"/>
                  </a:moveTo>
                  <a:lnTo>
                    <a:pt x="0" y="169455"/>
                  </a:lnTo>
                  <a:lnTo>
                    <a:pt x="0" y="0"/>
                  </a:lnTo>
                  <a:lnTo>
                    <a:pt x="32400" y="0"/>
                  </a:lnTo>
                  <a:close/>
                </a:path>
              </a:pathLst>
            </a:custGeom>
            <a:solidFill>
              <a:srgbClr val="005A70"/>
            </a:solidFill>
            <a:ln w="154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30F57B65-B00A-4740-8451-7B32250B9A5F}"/>
                </a:ext>
              </a:extLst>
            </p:cNvPr>
            <p:cNvSpPr/>
            <p:nvPr/>
          </p:nvSpPr>
          <p:spPr>
            <a:xfrm>
              <a:off x="4811697" y="202519"/>
              <a:ext cx="32400" cy="162003"/>
            </a:xfrm>
            <a:custGeom>
              <a:avLst/>
              <a:gdLst>
                <a:gd name="connsiteX0" fmla="*/ 32400 w 32400"/>
                <a:gd name="connsiteY0" fmla="*/ 168807 h 162003"/>
                <a:gd name="connsiteX1" fmla="*/ 0 w 32400"/>
                <a:gd name="connsiteY1" fmla="*/ 168807 h 162003"/>
                <a:gd name="connsiteX2" fmla="*/ 0 w 32400"/>
                <a:gd name="connsiteY2" fmla="*/ 0 h 162003"/>
                <a:gd name="connsiteX3" fmla="*/ 32400 w 32400"/>
                <a:gd name="connsiteY3" fmla="*/ 0 h 162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00" h="162003">
                  <a:moveTo>
                    <a:pt x="32400" y="168807"/>
                  </a:moveTo>
                  <a:lnTo>
                    <a:pt x="0" y="168807"/>
                  </a:lnTo>
                  <a:lnTo>
                    <a:pt x="0" y="0"/>
                  </a:lnTo>
                  <a:lnTo>
                    <a:pt x="32400" y="0"/>
                  </a:lnTo>
                  <a:close/>
                </a:path>
              </a:pathLst>
            </a:custGeom>
            <a:solidFill>
              <a:srgbClr val="005A70"/>
            </a:solidFill>
            <a:ln w="154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9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60286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89" r:id="rId2"/>
    <p:sldLayoutId id="2147483678" r:id="rId3"/>
    <p:sldLayoutId id="2147483709" r:id="rId4"/>
    <p:sldLayoutId id="2147483697" r:id="rId5"/>
    <p:sldLayoutId id="2147483698" r:id="rId6"/>
    <p:sldLayoutId id="2147483776" r:id="rId7"/>
    <p:sldLayoutId id="2147483680" r:id="rId8"/>
    <p:sldLayoutId id="2147483681" r:id="rId9"/>
    <p:sldLayoutId id="2147483682" r:id="rId10"/>
    <p:sldLayoutId id="2147483694" r:id="rId11"/>
    <p:sldLayoutId id="2147483702" r:id="rId12"/>
    <p:sldLayoutId id="2147483679" r:id="rId13"/>
    <p:sldLayoutId id="2147483700" r:id="rId14"/>
    <p:sldLayoutId id="2147483699" r:id="rId15"/>
    <p:sldLayoutId id="2147483701" r:id="rId16"/>
    <p:sldLayoutId id="2147483695" r:id="rId17"/>
    <p:sldLayoutId id="2147483696" r:id="rId18"/>
    <p:sldLayoutId id="2147483703" r:id="rId19"/>
    <p:sldLayoutId id="2147483704" r:id="rId20"/>
    <p:sldLayoutId id="2147483705" r:id="rId21"/>
    <p:sldLayoutId id="2147483777" r:id="rId22"/>
    <p:sldLayoutId id="2147483684" r:id="rId23"/>
  </p:sldLayoutIdLst>
  <p:hf hdr="0" ftr="0" dt="0"/>
  <p:txStyles>
    <p:titleStyle>
      <a:lvl1pPr algn="l" defTabSz="337469" rtl="0" eaLnBrk="1" latinLnBrk="0" hangingPunct="1">
        <a:lnSpc>
          <a:spcPct val="90000"/>
        </a:lnSpc>
        <a:spcBef>
          <a:spcPct val="0"/>
        </a:spcBef>
        <a:buNone/>
        <a:defRPr sz="1800" kern="1200" cap="none" spc="24" baseline="0">
          <a:solidFill>
            <a:schemeClr val="bg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337469" rtl="0" eaLnBrk="1" latinLnBrk="0" hangingPunct="1">
        <a:lnSpc>
          <a:spcPct val="114000"/>
        </a:lnSpc>
        <a:spcBef>
          <a:spcPts val="602"/>
        </a:spcBef>
        <a:spcAft>
          <a:spcPts val="201"/>
        </a:spcAft>
        <a:buClr>
          <a:schemeClr val="tx2"/>
        </a:buClr>
        <a:buFont typeface="Arial" panose="020B0604020202020204" pitchFamily="34" charset="0"/>
        <a:buNone/>
        <a:defRPr sz="1000" b="0" kern="1200" cap="none" spc="20" baseline="0">
          <a:solidFill>
            <a:schemeClr val="bg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46075" indent="-171450" algn="l" defTabSz="337469" rtl="0" eaLnBrk="1" latinLnBrk="0" hangingPunct="1">
        <a:lnSpc>
          <a:spcPct val="113000"/>
        </a:lnSpc>
        <a:spcBef>
          <a:spcPts val="0"/>
        </a:spcBef>
        <a:spcAft>
          <a:spcPts val="201"/>
        </a:spcAft>
        <a:buClr>
          <a:schemeClr val="tx2"/>
        </a:buClr>
        <a:buFont typeface="Arial" panose="020B0604020202020204" pitchFamily="34" charset="0"/>
        <a:buChar char="•"/>
        <a:defRPr sz="1000" b="0" kern="1200" cap="none" spc="3" baseline="0">
          <a:solidFill>
            <a:schemeClr val="bg2"/>
          </a:solidFill>
          <a:latin typeface="+mj-lt"/>
          <a:ea typeface="Verdana" panose="020B0606030504020204" pitchFamily="34" charset="0"/>
          <a:cs typeface="Verdana" panose="020B0604030504040204" pitchFamily="34" charset="0"/>
        </a:defRPr>
      </a:lvl2pPr>
      <a:lvl3pPr marL="530225" indent="-171450" algn="l" defTabSz="337469" rtl="0" eaLnBrk="1" latinLnBrk="0" hangingPunct="1">
        <a:lnSpc>
          <a:spcPct val="113000"/>
        </a:lnSpc>
        <a:spcBef>
          <a:spcPts val="0"/>
        </a:spcBef>
        <a:spcAft>
          <a:spcPts val="201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000" b="0" kern="1200" cap="none" spc="3" baseline="0">
          <a:solidFill>
            <a:schemeClr val="bg2"/>
          </a:solidFill>
          <a:latin typeface="+mj-lt"/>
          <a:ea typeface="Verdana" panose="020B0606030504020204" pitchFamily="34" charset="0"/>
          <a:cs typeface="Verdana" panose="020B0604030504040204" pitchFamily="34" charset="0"/>
        </a:defRPr>
      </a:lvl3pPr>
      <a:lvl4pPr marL="719138" indent="-171450" algn="l" defTabSz="337469" rtl="0" eaLnBrk="1" latinLnBrk="0" hangingPunct="1">
        <a:lnSpc>
          <a:spcPct val="113000"/>
        </a:lnSpc>
        <a:spcBef>
          <a:spcPts val="0"/>
        </a:spcBef>
        <a:spcAft>
          <a:spcPts val="201"/>
        </a:spcAft>
        <a:buClr>
          <a:schemeClr val="tx2"/>
        </a:buClr>
        <a:buSzPct val="100000"/>
        <a:buFont typeface="Arial" panose="020B0604020202020204" pitchFamily="34" charset="0"/>
        <a:buChar char="•"/>
        <a:tabLst/>
        <a:defRPr sz="1000" b="0" kern="1200" cap="none" spc="3" baseline="0">
          <a:solidFill>
            <a:schemeClr val="bg2"/>
          </a:solidFill>
          <a:latin typeface="+mj-lt"/>
          <a:ea typeface="Verdana" panose="020B0606030504020204" pitchFamily="34" charset="0"/>
          <a:cs typeface="Verdana" panose="020B0604030504040204" pitchFamily="34" charset="0"/>
        </a:defRPr>
      </a:lvl4pPr>
      <a:lvl5pPr marL="895350" indent="-171450" algn="l" defTabSz="457200" rtl="0" eaLnBrk="1" latinLnBrk="0" hangingPunct="1">
        <a:lnSpc>
          <a:spcPct val="113000"/>
        </a:lnSpc>
        <a:spcBef>
          <a:spcPts val="0"/>
        </a:spcBef>
        <a:spcAft>
          <a:spcPts val="201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000" b="0" kern="1200" cap="none" spc="3" baseline="0">
          <a:solidFill>
            <a:schemeClr val="bg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066800" indent="-171450" algn="l" defTabSz="358775" rtl="0" eaLnBrk="1" latinLnBrk="0" hangingPunct="1">
        <a:lnSpc>
          <a:spcPct val="113000"/>
        </a:lnSpc>
        <a:spcBef>
          <a:spcPts val="0"/>
        </a:spcBef>
        <a:spcAft>
          <a:spcPts val="201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1255713" indent="-171450" algn="l" defTabSz="337469" rtl="0" eaLnBrk="1" latinLnBrk="0" hangingPunct="1">
        <a:lnSpc>
          <a:spcPct val="113000"/>
        </a:lnSpc>
        <a:spcBef>
          <a:spcPts val="0"/>
        </a:spcBef>
        <a:spcAft>
          <a:spcPts val="201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1431925" indent="-171450" algn="l" defTabSz="337469" rtl="0" eaLnBrk="1" latinLnBrk="0" hangingPunct="1">
        <a:lnSpc>
          <a:spcPct val="113000"/>
        </a:lnSpc>
        <a:spcBef>
          <a:spcPts val="0"/>
        </a:spcBef>
        <a:spcAft>
          <a:spcPts val="201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1616075" indent="-171450" algn="l" defTabSz="337469" rtl="0" eaLnBrk="1" latinLnBrk="0" hangingPunct="1">
        <a:lnSpc>
          <a:spcPct val="113000"/>
        </a:lnSpc>
        <a:spcBef>
          <a:spcPts val="0"/>
        </a:spcBef>
        <a:spcAft>
          <a:spcPts val="201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en-US"/>
      </a:defPPr>
      <a:lvl1pPr marL="0" algn="l" defTabSz="337469" rtl="0" eaLnBrk="1" latinLnBrk="0" hangingPunct="1">
        <a:defRPr sz="664" kern="1200">
          <a:solidFill>
            <a:schemeClr val="tx1"/>
          </a:solidFill>
          <a:latin typeface="+mn-lt"/>
          <a:ea typeface="+mn-ea"/>
          <a:cs typeface="+mn-cs"/>
        </a:defRPr>
      </a:lvl1pPr>
      <a:lvl2pPr marL="168734" algn="l" defTabSz="337469" rtl="0" eaLnBrk="1" latinLnBrk="0" hangingPunct="1">
        <a:defRPr sz="664" kern="1200">
          <a:solidFill>
            <a:schemeClr val="tx1"/>
          </a:solidFill>
          <a:latin typeface="+mn-lt"/>
          <a:ea typeface="+mn-ea"/>
          <a:cs typeface="+mn-cs"/>
        </a:defRPr>
      </a:lvl2pPr>
      <a:lvl3pPr marL="337469" algn="l" defTabSz="337469" rtl="0" eaLnBrk="1" latinLnBrk="0" hangingPunct="1">
        <a:defRPr sz="664" kern="1200">
          <a:solidFill>
            <a:schemeClr val="tx1"/>
          </a:solidFill>
          <a:latin typeface="+mn-lt"/>
          <a:ea typeface="+mn-ea"/>
          <a:cs typeface="+mn-cs"/>
        </a:defRPr>
      </a:lvl3pPr>
      <a:lvl4pPr marL="506203" algn="l" defTabSz="337469" rtl="0" eaLnBrk="1" latinLnBrk="0" hangingPunct="1">
        <a:defRPr sz="664" kern="1200">
          <a:solidFill>
            <a:schemeClr val="tx1"/>
          </a:solidFill>
          <a:latin typeface="+mn-lt"/>
          <a:ea typeface="+mn-ea"/>
          <a:cs typeface="+mn-cs"/>
        </a:defRPr>
      </a:lvl4pPr>
      <a:lvl5pPr marL="674937" algn="l" defTabSz="337469" rtl="0" eaLnBrk="1" latinLnBrk="0" hangingPunct="1">
        <a:defRPr sz="664" kern="1200">
          <a:solidFill>
            <a:schemeClr val="tx1"/>
          </a:solidFill>
          <a:latin typeface="+mn-lt"/>
          <a:ea typeface="+mn-ea"/>
          <a:cs typeface="+mn-cs"/>
        </a:defRPr>
      </a:lvl5pPr>
      <a:lvl6pPr marL="843672" algn="l" defTabSz="337469" rtl="0" eaLnBrk="1" latinLnBrk="0" hangingPunct="1">
        <a:defRPr sz="664" kern="1200">
          <a:solidFill>
            <a:schemeClr val="tx1"/>
          </a:solidFill>
          <a:latin typeface="+mn-lt"/>
          <a:ea typeface="+mn-ea"/>
          <a:cs typeface="+mn-cs"/>
        </a:defRPr>
      </a:lvl6pPr>
      <a:lvl7pPr marL="1012405" algn="l" defTabSz="337469" rtl="0" eaLnBrk="1" latinLnBrk="0" hangingPunct="1">
        <a:defRPr sz="664" kern="1200">
          <a:solidFill>
            <a:schemeClr val="tx1"/>
          </a:solidFill>
          <a:latin typeface="+mn-lt"/>
          <a:ea typeface="+mn-ea"/>
          <a:cs typeface="+mn-cs"/>
        </a:defRPr>
      </a:lvl7pPr>
      <a:lvl8pPr marL="1181141" algn="l" defTabSz="337469" rtl="0" eaLnBrk="1" latinLnBrk="0" hangingPunct="1">
        <a:defRPr sz="664" kern="1200">
          <a:solidFill>
            <a:schemeClr val="tx1"/>
          </a:solidFill>
          <a:latin typeface="+mn-lt"/>
          <a:ea typeface="+mn-ea"/>
          <a:cs typeface="+mn-cs"/>
        </a:defRPr>
      </a:lvl8pPr>
      <a:lvl9pPr marL="1349875" algn="l" defTabSz="337469" rtl="0" eaLnBrk="1" latinLnBrk="0" hangingPunct="1">
        <a:defRPr sz="6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1" pos="7061">
          <p15:clr>
            <a:srgbClr val="F26B43"/>
          </p15:clr>
        </p15:guide>
        <p15:guide id="12" pos="227" userDrawn="1">
          <p15:clr>
            <a:srgbClr val="F26B43"/>
          </p15:clr>
        </p15:guide>
        <p15:guide id="14" pos="5442" userDrawn="1">
          <p15:clr>
            <a:srgbClr val="F26B43"/>
          </p15:clr>
        </p15:guide>
        <p15:guide id="15" orient="horz" pos="234" userDrawn="1">
          <p15:clr>
            <a:srgbClr val="F26B43"/>
          </p15:clr>
        </p15:guide>
        <p15:guide id="16" orient="horz" pos="295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C51AC46-9790-4990-B5CC-3A3B176692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87738" y="4871269"/>
            <a:ext cx="2024063" cy="79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nl-NL" sz="517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363" y="371475"/>
            <a:ext cx="8290066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Klik om te bewerk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0258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91" r:id="rId2"/>
    <p:sldLayoutId id="2147483692" r:id="rId3"/>
  </p:sldLayoutIdLst>
  <p:hf hdr="0" ftr="0" dt="0"/>
  <p:txStyles>
    <p:titleStyle>
      <a:lvl1pPr algn="ctr" defTabSz="337469" rtl="0" eaLnBrk="1" latinLnBrk="0" hangingPunct="1">
        <a:lnSpc>
          <a:spcPct val="90000"/>
        </a:lnSpc>
        <a:spcBef>
          <a:spcPct val="0"/>
        </a:spcBef>
        <a:buNone/>
        <a:defRPr sz="1800" kern="1200" cap="none" spc="24" baseline="0">
          <a:solidFill>
            <a:schemeClr val="bg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337469" rtl="0" eaLnBrk="1" latinLnBrk="0" hangingPunct="1">
        <a:lnSpc>
          <a:spcPct val="110000"/>
        </a:lnSpc>
        <a:spcBef>
          <a:spcPts val="602"/>
        </a:spcBef>
        <a:spcAft>
          <a:spcPts val="201"/>
        </a:spcAft>
        <a:buFont typeface="Arial" panose="020B0604020202020204" pitchFamily="34" charset="0"/>
        <a:buNone/>
        <a:defRPr sz="664" b="1" kern="1200" cap="all" spc="47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337469" rtl="0" eaLnBrk="1" latinLnBrk="0" hangingPunct="1">
        <a:lnSpc>
          <a:spcPct val="110000"/>
        </a:lnSpc>
        <a:spcBef>
          <a:spcPts val="0"/>
        </a:spcBef>
        <a:spcAft>
          <a:spcPts val="284"/>
        </a:spcAft>
        <a:buFontTx/>
        <a:buNone/>
        <a:defRPr sz="591" b="0" kern="1200" cap="none" spc="3" baseline="0">
          <a:solidFill>
            <a:schemeClr val="tx1"/>
          </a:solidFill>
          <a:latin typeface="+mj-lt"/>
          <a:ea typeface="+mn-ea"/>
          <a:cs typeface="+mn-cs"/>
        </a:defRPr>
      </a:lvl2pPr>
      <a:lvl3pPr marL="57403" indent="-57403" algn="l" defTabSz="337469" rtl="0" eaLnBrk="1" latinLnBrk="0" hangingPunct="1">
        <a:lnSpc>
          <a:spcPct val="110000"/>
        </a:lnSpc>
        <a:spcBef>
          <a:spcPts val="0"/>
        </a:spcBef>
        <a:spcAft>
          <a:spcPts val="284"/>
        </a:spcAft>
        <a:buClr>
          <a:schemeClr val="tx2"/>
        </a:buClr>
        <a:buSzPct val="100000"/>
        <a:buFont typeface="Arial" panose="020B0604020202020204" pitchFamily="34" charset="0"/>
        <a:buChar char="•"/>
        <a:defRPr sz="591" b="0" kern="1200" cap="none" spc="3" baseline="0">
          <a:solidFill>
            <a:schemeClr val="tx1"/>
          </a:solidFill>
          <a:latin typeface="+mj-lt"/>
          <a:ea typeface="+mn-ea"/>
          <a:cs typeface="+mn-cs"/>
        </a:defRPr>
      </a:lvl3pPr>
      <a:lvl4pPr marL="120654" indent="-60592" algn="l" defTabSz="337469" rtl="0" eaLnBrk="1" latinLnBrk="0" hangingPunct="1">
        <a:lnSpc>
          <a:spcPct val="110000"/>
        </a:lnSpc>
        <a:spcBef>
          <a:spcPts val="0"/>
        </a:spcBef>
        <a:spcAft>
          <a:spcPts val="284"/>
        </a:spcAft>
        <a:buClr>
          <a:schemeClr val="tx2"/>
        </a:buClr>
        <a:buSzPct val="75000"/>
        <a:buFont typeface="Arial" panose="020B0604020202020204" pitchFamily="34" charset="0"/>
        <a:buChar char="•"/>
        <a:tabLst/>
        <a:defRPr sz="591" b="0" kern="1200" cap="none" spc="3" baseline="0">
          <a:solidFill>
            <a:schemeClr val="tx1"/>
          </a:solidFill>
          <a:latin typeface="+mj-lt"/>
          <a:ea typeface="+mn-ea"/>
          <a:cs typeface="+mn-cs"/>
        </a:defRPr>
      </a:lvl4pPr>
      <a:lvl5pPr marL="179118" indent="-60592" algn="l" defTabSz="337469" rtl="0" eaLnBrk="1" latinLnBrk="0" hangingPunct="1">
        <a:lnSpc>
          <a:spcPct val="110000"/>
        </a:lnSpc>
        <a:spcBef>
          <a:spcPts val="0"/>
        </a:spcBef>
        <a:spcAft>
          <a:spcPts val="284"/>
        </a:spcAft>
        <a:buClr>
          <a:schemeClr val="tx2"/>
        </a:buClr>
        <a:buSzPct val="50000"/>
        <a:buFont typeface="Arial" panose="020B0604020202020204" pitchFamily="34" charset="0"/>
        <a:buChar char="•"/>
        <a:defRPr sz="591" b="0" kern="1200" cap="none" spc="3" baseline="0">
          <a:solidFill>
            <a:schemeClr val="tx1"/>
          </a:solidFill>
          <a:latin typeface="+mj-lt"/>
          <a:ea typeface="+mn-ea"/>
          <a:cs typeface="+mn-cs"/>
        </a:defRPr>
      </a:lvl5pPr>
      <a:lvl6pPr marL="928040" indent="-84367" algn="l" defTabSz="337469" rtl="0" eaLnBrk="1" latinLnBrk="0" hangingPunct="1">
        <a:lnSpc>
          <a:spcPct val="90000"/>
        </a:lnSpc>
        <a:spcBef>
          <a:spcPts val="185"/>
        </a:spcBef>
        <a:buFont typeface="Arial" panose="020B0604020202020204" pitchFamily="34" charset="0"/>
        <a:buChar char="•"/>
        <a:defRPr sz="664" kern="1200">
          <a:solidFill>
            <a:schemeClr val="tx1"/>
          </a:solidFill>
          <a:latin typeface="+mn-lt"/>
          <a:ea typeface="+mn-ea"/>
          <a:cs typeface="+mn-cs"/>
        </a:defRPr>
      </a:lvl6pPr>
      <a:lvl7pPr marL="1096774" indent="-84367" algn="l" defTabSz="337469" rtl="0" eaLnBrk="1" latinLnBrk="0" hangingPunct="1">
        <a:lnSpc>
          <a:spcPct val="90000"/>
        </a:lnSpc>
        <a:spcBef>
          <a:spcPts val="185"/>
        </a:spcBef>
        <a:buFont typeface="Arial" panose="020B0604020202020204" pitchFamily="34" charset="0"/>
        <a:buChar char="•"/>
        <a:defRPr sz="664" kern="1200">
          <a:solidFill>
            <a:schemeClr val="tx1"/>
          </a:solidFill>
          <a:latin typeface="+mn-lt"/>
          <a:ea typeface="+mn-ea"/>
          <a:cs typeface="+mn-cs"/>
        </a:defRPr>
      </a:lvl7pPr>
      <a:lvl8pPr marL="1265508" indent="-84367" algn="l" defTabSz="337469" rtl="0" eaLnBrk="1" latinLnBrk="0" hangingPunct="1">
        <a:lnSpc>
          <a:spcPct val="90000"/>
        </a:lnSpc>
        <a:spcBef>
          <a:spcPts val="185"/>
        </a:spcBef>
        <a:buFont typeface="Arial" panose="020B0604020202020204" pitchFamily="34" charset="0"/>
        <a:buChar char="•"/>
        <a:defRPr sz="664" kern="1200">
          <a:solidFill>
            <a:schemeClr val="tx1"/>
          </a:solidFill>
          <a:latin typeface="+mn-lt"/>
          <a:ea typeface="+mn-ea"/>
          <a:cs typeface="+mn-cs"/>
        </a:defRPr>
      </a:lvl8pPr>
      <a:lvl9pPr marL="1434242" indent="-84367" algn="l" defTabSz="337469" rtl="0" eaLnBrk="1" latinLnBrk="0" hangingPunct="1">
        <a:lnSpc>
          <a:spcPct val="90000"/>
        </a:lnSpc>
        <a:spcBef>
          <a:spcPts val="185"/>
        </a:spcBef>
        <a:buFont typeface="Arial" panose="020B0604020202020204" pitchFamily="34" charset="0"/>
        <a:buChar char="•"/>
        <a:defRPr sz="66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37469" rtl="0" eaLnBrk="1" latinLnBrk="0" hangingPunct="1">
        <a:defRPr sz="664" kern="1200">
          <a:solidFill>
            <a:schemeClr val="tx1"/>
          </a:solidFill>
          <a:latin typeface="+mn-lt"/>
          <a:ea typeface="+mn-ea"/>
          <a:cs typeface="+mn-cs"/>
        </a:defRPr>
      </a:lvl1pPr>
      <a:lvl2pPr marL="168734" algn="l" defTabSz="337469" rtl="0" eaLnBrk="1" latinLnBrk="0" hangingPunct="1">
        <a:defRPr sz="664" kern="1200">
          <a:solidFill>
            <a:schemeClr val="tx1"/>
          </a:solidFill>
          <a:latin typeface="+mn-lt"/>
          <a:ea typeface="+mn-ea"/>
          <a:cs typeface="+mn-cs"/>
        </a:defRPr>
      </a:lvl2pPr>
      <a:lvl3pPr marL="337469" algn="l" defTabSz="337469" rtl="0" eaLnBrk="1" latinLnBrk="0" hangingPunct="1">
        <a:defRPr sz="664" kern="1200">
          <a:solidFill>
            <a:schemeClr val="tx1"/>
          </a:solidFill>
          <a:latin typeface="+mn-lt"/>
          <a:ea typeface="+mn-ea"/>
          <a:cs typeface="+mn-cs"/>
        </a:defRPr>
      </a:lvl3pPr>
      <a:lvl4pPr marL="506203" algn="l" defTabSz="337469" rtl="0" eaLnBrk="1" latinLnBrk="0" hangingPunct="1">
        <a:defRPr sz="664" kern="1200">
          <a:solidFill>
            <a:schemeClr val="tx1"/>
          </a:solidFill>
          <a:latin typeface="+mn-lt"/>
          <a:ea typeface="+mn-ea"/>
          <a:cs typeface="+mn-cs"/>
        </a:defRPr>
      </a:lvl4pPr>
      <a:lvl5pPr marL="674937" algn="l" defTabSz="337469" rtl="0" eaLnBrk="1" latinLnBrk="0" hangingPunct="1">
        <a:defRPr sz="664" kern="1200">
          <a:solidFill>
            <a:schemeClr val="tx1"/>
          </a:solidFill>
          <a:latin typeface="+mn-lt"/>
          <a:ea typeface="+mn-ea"/>
          <a:cs typeface="+mn-cs"/>
        </a:defRPr>
      </a:lvl5pPr>
      <a:lvl6pPr marL="843672" algn="l" defTabSz="337469" rtl="0" eaLnBrk="1" latinLnBrk="0" hangingPunct="1">
        <a:defRPr sz="664" kern="1200">
          <a:solidFill>
            <a:schemeClr val="tx1"/>
          </a:solidFill>
          <a:latin typeface="+mn-lt"/>
          <a:ea typeface="+mn-ea"/>
          <a:cs typeface="+mn-cs"/>
        </a:defRPr>
      </a:lvl6pPr>
      <a:lvl7pPr marL="1012405" algn="l" defTabSz="337469" rtl="0" eaLnBrk="1" latinLnBrk="0" hangingPunct="1">
        <a:defRPr sz="664" kern="1200">
          <a:solidFill>
            <a:schemeClr val="tx1"/>
          </a:solidFill>
          <a:latin typeface="+mn-lt"/>
          <a:ea typeface="+mn-ea"/>
          <a:cs typeface="+mn-cs"/>
        </a:defRPr>
      </a:lvl7pPr>
      <a:lvl8pPr marL="1181141" algn="l" defTabSz="337469" rtl="0" eaLnBrk="1" latinLnBrk="0" hangingPunct="1">
        <a:defRPr sz="664" kern="1200">
          <a:solidFill>
            <a:schemeClr val="tx1"/>
          </a:solidFill>
          <a:latin typeface="+mn-lt"/>
          <a:ea typeface="+mn-ea"/>
          <a:cs typeface="+mn-cs"/>
        </a:defRPr>
      </a:lvl8pPr>
      <a:lvl9pPr marL="1349875" algn="l" defTabSz="337469" rtl="0" eaLnBrk="1" latinLnBrk="0" hangingPunct="1">
        <a:defRPr sz="6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378">
          <p15:clr>
            <a:srgbClr val="F26B43"/>
          </p15:clr>
        </p15:guide>
        <p15:guide id="5" orient="horz" pos="2955" userDrawn="1">
          <p15:clr>
            <a:srgbClr val="F26B43"/>
          </p15:clr>
        </p15:guide>
        <p15:guide id="6" orient="horz" pos="234" userDrawn="1">
          <p15:clr>
            <a:srgbClr val="F26B43"/>
          </p15:clr>
        </p15:guide>
        <p15:guide id="8" pos="5442" userDrawn="1">
          <p15:clr>
            <a:srgbClr val="F26B43"/>
          </p15:clr>
        </p15:guide>
        <p15:guide id="9" pos="22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raight Connector 7"/>
          <p:cNvSpPr/>
          <p:nvPr/>
        </p:nvSpPr>
        <p:spPr>
          <a:xfrm>
            <a:off x="141725" y="124017"/>
            <a:ext cx="8716089" cy="1"/>
          </a:xfrm>
          <a:prstGeom prst="line">
            <a:avLst/>
          </a:prstGeom>
          <a:ln w="31750">
            <a:solidFill>
              <a:srgbClr val="000000"/>
            </a:solidFill>
            <a:miter/>
          </a:ln>
        </p:spPr>
        <p:txBody>
          <a:bodyPr lIns="44997" rIns="44997"/>
          <a:lstStyle/>
          <a:p>
            <a:endParaRPr sz="1279"/>
          </a:p>
        </p:txBody>
      </p:sp>
      <p:sp>
        <p:nvSpPr>
          <p:cNvPr id="3" name="Straight Connector 8"/>
          <p:cNvSpPr/>
          <p:nvPr/>
        </p:nvSpPr>
        <p:spPr>
          <a:xfrm>
            <a:off x="141725" y="177166"/>
            <a:ext cx="8716089" cy="1"/>
          </a:xfrm>
          <a:prstGeom prst="line">
            <a:avLst/>
          </a:prstGeom>
          <a:ln w="19050">
            <a:solidFill>
              <a:srgbClr val="000000"/>
            </a:solidFill>
            <a:miter/>
          </a:ln>
        </p:spPr>
        <p:txBody>
          <a:bodyPr lIns="44997" rIns="44997"/>
          <a:lstStyle/>
          <a:p>
            <a:endParaRPr sz="1279"/>
          </a:p>
        </p:txBody>
      </p:sp>
      <p:pic>
        <p:nvPicPr>
          <p:cNvPr id="4" name="Picture 11" descr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03732" y="4712633"/>
            <a:ext cx="992076" cy="194651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eltekst"/>
          <p:cNvSpPr txBox="1">
            <a:spLocks noGrp="1"/>
          </p:cNvSpPr>
          <p:nvPr>
            <p:ph type="title"/>
          </p:nvPr>
        </p:nvSpPr>
        <p:spPr>
          <a:xfrm>
            <a:off x="449977" y="202736"/>
            <a:ext cx="8099584" cy="9785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t>Titeltekst</a:t>
            </a:r>
          </a:p>
        </p:txBody>
      </p:sp>
      <p:sp>
        <p:nvSpPr>
          <p:cNvPr id="6" name="Hoofdtekst - niveau één…"/>
          <p:cNvSpPr txBox="1">
            <a:spLocks noGrp="1"/>
          </p:cNvSpPr>
          <p:nvPr>
            <p:ph type="body" idx="1"/>
          </p:nvPr>
        </p:nvSpPr>
        <p:spPr>
          <a:xfrm>
            <a:off x="449977" y="1181259"/>
            <a:ext cx="8099584" cy="38812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7" name="Dianummer"/>
          <p:cNvSpPr txBox="1">
            <a:spLocks noGrp="1"/>
          </p:cNvSpPr>
          <p:nvPr>
            <p:ph type="sldNum" sz="quarter" idx="2"/>
          </p:nvPr>
        </p:nvSpPr>
        <p:spPr>
          <a:xfrm>
            <a:off x="8255824" y="4739855"/>
            <a:ext cx="124995" cy="242246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>
            <a:spAutoFit/>
          </a:bodyPr>
          <a:lstStyle>
            <a:lvl1pPr algn="r">
              <a:defRPr sz="787">
                <a:solidFill>
                  <a:srgbClr val="80808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1" r:id="rId2"/>
    <p:sldLayoutId id="2147483663" r:id="rId3"/>
    <p:sldLayoutId id="2147483778" r:id="rId4"/>
  </p:sldLayoutIdLst>
  <p:transition spd="med"/>
  <p:txStyles>
    <p:titleStyle>
      <a:lvl1pPr marL="0" marR="0" indent="0" algn="l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179999" marR="0" indent="-179999" algn="l" defTabSz="685800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 typeface="Arial"/>
        <a:buChar char="•"/>
        <a:tabLst/>
        <a:defRPr sz="1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eorgia"/>
        </a:defRPr>
      </a:lvl1pPr>
      <a:lvl2pPr marL="359999" marR="0" indent="-179999" algn="l" defTabSz="685800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 typeface="Arial"/>
        <a:buChar char="•"/>
        <a:tabLst/>
        <a:defRPr sz="1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eorgia"/>
        </a:defRPr>
      </a:lvl2pPr>
      <a:lvl3pPr marL="539999" marR="0" indent="-180000" algn="l" defTabSz="685800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 typeface="Arial"/>
        <a:buChar char="•"/>
        <a:tabLst/>
        <a:defRPr sz="1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eorgia"/>
        </a:defRPr>
      </a:lvl3pPr>
      <a:lvl4pPr marL="719999" marR="0" indent="-180000" algn="l" defTabSz="685800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 typeface="Arial"/>
        <a:buChar char="•"/>
        <a:tabLst/>
        <a:defRPr sz="1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eorgia"/>
        </a:defRPr>
      </a:lvl4pPr>
      <a:lvl5pPr marL="900000" marR="0" indent="-180000" algn="l" defTabSz="685800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 typeface="Arial"/>
        <a:buChar char="•"/>
        <a:tabLst/>
        <a:defRPr sz="1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eorgia"/>
        </a:defRPr>
      </a:lvl5pPr>
      <a:lvl6pPr marL="1951892" marR="0" indent="-237392" algn="l" defTabSz="685800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 typeface="Arial"/>
        <a:buChar char="•"/>
        <a:tabLst/>
        <a:defRPr sz="1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eorgia"/>
        </a:defRPr>
      </a:lvl6pPr>
      <a:lvl7pPr marL="2294792" marR="0" indent="-237392" algn="l" defTabSz="685800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 typeface="Arial"/>
        <a:buChar char="•"/>
        <a:tabLst/>
        <a:defRPr sz="1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eorgia"/>
        </a:defRPr>
      </a:lvl7pPr>
      <a:lvl8pPr marL="2637692" marR="0" indent="-237392" algn="l" defTabSz="685800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 typeface="Arial"/>
        <a:buChar char="•"/>
        <a:tabLst/>
        <a:defRPr sz="1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eorgia"/>
        </a:defRPr>
      </a:lvl8pPr>
      <a:lvl9pPr marL="2980592" marR="0" indent="-237392" algn="l" defTabSz="685800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 typeface="Arial"/>
        <a:buChar char="•"/>
        <a:tabLst/>
        <a:defRPr sz="1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eorgia"/>
        </a:defRPr>
      </a:lvl9pPr>
    </p:bodyStyle>
    <p:otherStyle>
      <a:lvl1pPr marL="0" marR="0" indent="0" algn="r" defTabSz="685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eorgia"/>
        </a:defRPr>
      </a:lvl1pPr>
      <a:lvl2pPr marL="0" marR="0" indent="342900" algn="r" defTabSz="685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eorgia"/>
        </a:defRPr>
      </a:lvl2pPr>
      <a:lvl3pPr marL="0" marR="0" indent="685800" algn="r" defTabSz="685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eorgia"/>
        </a:defRPr>
      </a:lvl3pPr>
      <a:lvl4pPr marL="0" marR="0" indent="1028700" algn="r" defTabSz="685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eorgia"/>
        </a:defRPr>
      </a:lvl4pPr>
      <a:lvl5pPr marL="0" marR="0" indent="1371600" algn="r" defTabSz="685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eorgia"/>
        </a:defRPr>
      </a:lvl5pPr>
      <a:lvl6pPr marL="0" marR="0" indent="1714500" algn="r" defTabSz="685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eorgia"/>
        </a:defRPr>
      </a:lvl6pPr>
      <a:lvl7pPr marL="0" marR="0" indent="2057400" algn="r" defTabSz="685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eorgia"/>
        </a:defRPr>
      </a:lvl7pPr>
      <a:lvl8pPr marL="0" marR="0" indent="2400300" algn="r" defTabSz="685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eorgia"/>
        </a:defRPr>
      </a:lvl8pPr>
      <a:lvl9pPr marL="0" marR="0" indent="2743200" algn="r" defTabSz="685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eorgia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mailto:bram.kleinhout@pelsrijcken.nl" TargetMode="External"/><Relationship Id="rId2" Type="http://schemas.openxmlformats.org/officeDocument/2006/relationships/hyperlink" Target="mailto:jeroen.naves@pelsrijcken.nl" TargetMode="External"/><Relationship Id="rId1" Type="http://schemas.openxmlformats.org/officeDocument/2006/relationships/slideLayout" Target="../slideLayouts/slideLayout27.xml"/><Relationship Id="rId5" Type="http://schemas.openxmlformats.org/officeDocument/2006/relationships/hyperlink" Target="https://living-in.eu/groups/commitments/legal." TargetMode="External"/><Relationship Id="rId4" Type="http://schemas.openxmlformats.org/officeDocument/2006/relationships/hyperlink" Target="https://public-buyers-community.ec.europa.eu/communities/procurement-ai/news/new-version-ai-clauses-available-discussion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mailto:Gabriela.Ruseva@eurocities.eu" TargetMode="Externa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Subtitle 1"/>
          <p:cNvSpPr txBox="1">
            <a:spLocks noGrp="1"/>
          </p:cNvSpPr>
          <p:nvPr>
            <p:ph type="body" sz="quarter" idx="1"/>
          </p:nvPr>
        </p:nvSpPr>
        <p:spPr>
          <a:xfrm>
            <a:off x="956644" y="2622061"/>
            <a:ext cx="7086251" cy="1725659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defPPr marL="0" marR="0" indent="0" algn="l" defTabSz="899952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77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1pPr>
            <a:lvl2pPr marL="0" marR="0" indent="337482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2pPr>
            <a:lvl3pPr marL="0" marR="0" indent="674964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3pPr>
            <a:lvl4pPr marL="0" marR="0" indent="101244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4pPr>
            <a:lvl5pPr marL="0" marR="0" indent="1349929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5pPr>
            <a:lvl6pPr marL="0" marR="0" indent="1687411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6pPr>
            <a:lvl7pPr marL="0" marR="0" indent="2024893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7pPr>
            <a:lvl8pPr marL="0" marR="0" indent="2362375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8pPr>
            <a:lvl9pPr marL="0" marR="0" indent="269985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9pPr>
          </a:lstStyle>
          <a:p>
            <a:endParaRPr lang="en-GB" sz="2559" dirty="0">
              <a:latin typeface="Source Serif Pro" panose="02040603050405020204" pitchFamily="18" charset="0"/>
            </a:endParaRPr>
          </a:p>
          <a:p>
            <a:r>
              <a:rPr lang="en-GB" sz="2953" dirty="0">
                <a:latin typeface="Source Serif Pro" panose="02040603050405020204" pitchFamily="18" charset="0"/>
              </a:rPr>
              <a:t>Roundtable exercises: Peer reviewing European AI procurement clauses</a:t>
            </a:r>
            <a:endParaRPr lang="en-GB" sz="2953" b="0" i="0" dirty="0">
              <a:solidFill>
                <a:srgbClr val="000000"/>
              </a:solidFill>
              <a:effectLst/>
              <a:latin typeface="Source Serif Pro" panose="02040603050405020204" pitchFamily="18" charset="0"/>
            </a:endParaRPr>
          </a:p>
          <a:p>
            <a:endParaRPr lang="en-GB" sz="1378" b="0" i="0" dirty="0">
              <a:solidFill>
                <a:srgbClr val="000000"/>
              </a:solidFill>
              <a:effectLst/>
              <a:latin typeface="Source Serif Pro" panose="02040603050405020204" pitchFamily="18" charset="0"/>
            </a:endParaRPr>
          </a:p>
          <a:p>
            <a:endParaRPr lang="en-GB" sz="1378" dirty="0">
              <a:latin typeface="Source Serif Pro" panose="02040603050405020204" pitchFamily="18" charset="0"/>
            </a:endParaRPr>
          </a:p>
          <a:p>
            <a:endParaRPr lang="en-GB" sz="1378" b="0" i="0" dirty="0">
              <a:solidFill>
                <a:srgbClr val="000000"/>
              </a:solidFill>
              <a:effectLst/>
              <a:latin typeface="Source Serif Pro" panose="02040603050405020204" pitchFamily="18" charset="0"/>
            </a:endParaRPr>
          </a:p>
          <a:p>
            <a:r>
              <a:rPr lang="en-GB" sz="1378" b="0" i="0" dirty="0">
                <a:solidFill>
                  <a:srgbClr val="000000"/>
                </a:solidFill>
                <a:effectLst/>
                <a:latin typeface="Source Serif Pro" panose="02040603050405020204" pitchFamily="18" charset="0"/>
              </a:rPr>
              <a:t>Living-in.eu</a:t>
            </a:r>
            <a:r>
              <a:rPr lang="en-GB" sz="1378" dirty="0">
                <a:latin typeface="Source Serif Pro" panose="02040603050405020204" pitchFamily="18" charset="0"/>
              </a:rPr>
              <a:t>,</a:t>
            </a:r>
            <a:r>
              <a:rPr lang="en-GB" sz="1378" b="0" i="0" dirty="0">
                <a:solidFill>
                  <a:srgbClr val="000000"/>
                </a:solidFill>
                <a:effectLst/>
                <a:latin typeface="Source Serif Pro" panose="02040603050405020204" pitchFamily="18" charset="0"/>
              </a:rPr>
              <a:t> DG GROW &amp; Pels Rijcken</a:t>
            </a:r>
          </a:p>
          <a:p>
            <a:r>
              <a:rPr lang="en-GB" sz="1378" dirty="0">
                <a:latin typeface="Source Serif Pro" panose="02040603050405020204" pitchFamily="18" charset="0"/>
              </a:rPr>
              <a:t>Wednesday, 7 June 2023 10:00 – 12:00</a:t>
            </a:r>
            <a:endParaRPr lang="en-GB" sz="1378" b="0" i="0" dirty="0">
              <a:solidFill>
                <a:srgbClr val="000000"/>
              </a:solidFill>
              <a:effectLst/>
              <a:latin typeface="Source Serif Pro" panose="020406030504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0466856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350D19D-09C7-38B9-1DD5-02F50320083D}"/>
              </a:ext>
            </a:extLst>
          </p:cNvPr>
          <p:cNvSpPr txBox="1"/>
          <p:nvPr/>
        </p:nvSpPr>
        <p:spPr>
          <a:xfrm>
            <a:off x="357335" y="364101"/>
            <a:ext cx="8172373" cy="5149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997" tIns="44997" rIns="44997" bIns="44997" numCol="1" spcCol="38100" rtlCol="0" anchor="t">
            <a:spAutoFit/>
          </a:bodyPr>
          <a:lstStyle>
            <a:defPPr marL="0" marR="0" indent="0" algn="l" defTabSz="899952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77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1pPr>
            <a:lvl2pPr marL="0" marR="0" indent="337482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2pPr>
            <a:lvl3pPr marL="0" marR="0" indent="674964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3pPr>
            <a:lvl4pPr marL="0" marR="0" indent="101244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4pPr>
            <a:lvl5pPr marL="0" marR="0" indent="1349929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5pPr>
            <a:lvl6pPr marL="0" marR="0" indent="1687411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6pPr>
            <a:lvl7pPr marL="0" marR="0" indent="2024893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7pPr>
            <a:lvl8pPr marL="0" marR="0" indent="2362375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8pPr>
            <a:lvl9pPr marL="0" marR="0" indent="269985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9pPr>
          </a:lstStyle>
          <a:p>
            <a:r>
              <a:rPr lang="nl-NL" sz="2756" err="1">
                <a:ea typeface="Calibri" panose="020F0502020204030204" pitchFamily="34" charset="0"/>
              </a:rPr>
              <a:t>Closing</a:t>
            </a:r>
            <a:r>
              <a:rPr lang="nl-NL" sz="2756">
                <a:ea typeface="Calibri" panose="020F0502020204030204" pitchFamily="34" charset="0"/>
              </a:rPr>
              <a:t>: next steps</a:t>
            </a:r>
            <a:endParaRPr lang="nl-NL" sz="2756">
              <a:effectLst/>
              <a:ea typeface="Calibri" panose="020F0502020204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F272357-FAF6-E85C-84C6-B5484350DE5A}"/>
              </a:ext>
            </a:extLst>
          </p:cNvPr>
          <p:cNvSpPr txBox="1"/>
          <p:nvPr/>
        </p:nvSpPr>
        <p:spPr>
          <a:xfrm>
            <a:off x="469830" y="1303133"/>
            <a:ext cx="8303972" cy="22722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997" tIns="44997" rIns="44997" bIns="44997" numCol="1" spcCol="38100" rtlCol="0" anchor="t">
            <a:spAutoFit/>
          </a:bodyPr>
          <a:lstStyle>
            <a:defPPr marL="0" marR="0" indent="0" algn="l" defTabSz="899952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77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1pPr>
            <a:lvl2pPr marL="0" marR="0" indent="337482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2pPr>
            <a:lvl3pPr marL="0" marR="0" indent="674964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3pPr>
            <a:lvl4pPr marL="0" marR="0" indent="101244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4pPr>
            <a:lvl5pPr marL="0" marR="0" indent="1349929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5pPr>
            <a:lvl6pPr marL="0" marR="0" indent="1687411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6pPr>
            <a:lvl7pPr marL="0" marR="0" indent="2024893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7pPr>
            <a:lvl8pPr marL="0" marR="0" indent="2362375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8pPr>
            <a:lvl9pPr marL="0" marR="0" indent="269985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Ø"/>
            </a:pPr>
            <a:endParaRPr lang="en-GB" sz="1575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550" b="1" dirty="0"/>
              <a:t>Written feedback by Monday, 19 June 2023</a:t>
            </a:r>
          </a:p>
          <a:p>
            <a:pPr marL="168275" indent="-168275">
              <a:buFont typeface="Arial" panose="020B0604020202020204" pitchFamily="34" charset="0"/>
              <a:buChar char="•"/>
            </a:pPr>
            <a:r>
              <a:rPr lang="en-GB" sz="1575" dirty="0"/>
              <a:t>By Email to </a:t>
            </a:r>
            <a:r>
              <a:rPr lang="en-GB" sz="1575" dirty="0">
                <a:hlinkClick r:id="rId2"/>
              </a:rPr>
              <a:t>jeroen.naves@pelsrijcken.nl</a:t>
            </a:r>
            <a:r>
              <a:rPr lang="en-GB" sz="1575" dirty="0"/>
              <a:t> or </a:t>
            </a:r>
            <a:r>
              <a:rPr lang="en-GB" sz="1575" dirty="0">
                <a:hlinkClick r:id="rId3"/>
              </a:rPr>
              <a:t>bram.kleinhout@pelsrijcken.nl</a:t>
            </a:r>
            <a:endParaRPr lang="en-GB" sz="1575" dirty="0"/>
          </a:p>
          <a:p>
            <a:pPr marL="168275" indent="-168275">
              <a:buFont typeface="Arial" panose="020B0604020202020204" pitchFamily="34" charset="0"/>
              <a:buChar char="•"/>
            </a:pPr>
            <a:r>
              <a:rPr lang="en-GB" sz="1575" dirty="0"/>
              <a:t>Miro Board (Link will be shared after the session)</a:t>
            </a:r>
          </a:p>
          <a:p>
            <a:endParaRPr lang="en-GB" sz="1575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575" b="1" dirty="0"/>
              <a:t>Follow the </a:t>
            </a:r>
            <a:r>
              <a:rPr lang="en-GB" sz="1575" b="1" dirty="0">
                <a:hlinkClick r:id="rId4"/>
              </a:rPr>
              <a:t>Public Buyers Platform </a:t>
            </a:r>
            <a:r>
              <a:rPr lang="en-GB" sz="1575" b="1" dirty="0"/>
              <a:t>for updates and more information</a:t>
            </a:r>
          </a:p>
          <a:p>
            <a:endParaRPr lang="en-GB" sz="1575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575" b="1" dirty="0"/>
              <a:t>For more updates, Living-in.EU Signatories can also join the Legal subgroup on </a:t>
            </a:r>
            <a:r>
              <a:rPr lang="en-GB" sz="1575" b="1" dirty="0">
                <a:hlinkClick r:id="rId5"/>
              </a:rPr>
              <a:t>Living-in.EU webpage</a:t>
            </a:r>
            <a:endParaRPr lang="en-GB" sz="1575" b="1" dirty="0"/>
          </a:p>
        </p:txBody>
      </p:sp>
    </p:spTree>
    <p:extLst>
      <p:ext uri="{BB962C8B-B14F-4D97-AF65-F5344CB8AC3E}">
        <p14:creationId xmlns:p14="http://schemas.microsoft.com/office/powerpoint/2010/main" val="2237968085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350D19D-09C7-38B9-1DD5-02F50320083D}"/>
              </a:ext>
            </a:extLst>
          </p:cNvPr>
          <p:cNvSpPr txBox="1"/>
          <p:nvPr/>
        </p:nvSpPr>
        <p:spPr>
          <a:xfrm>
            <a:off x="413582" y="1128061"/>
            <a:ext cx="8172373" cy="5149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997" tIns="44997" rIns="44997" bIns="44997" numCol="1" spcCol="38100" rtlCol="0" anchor="t">
            <a:spAutoFit/>
          </a:bodyPr>
          <a:lstStyle>
            <a:defPPr marL="0" marR="0" indent="0" algn="l" defTabSz="899952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77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1pPr>
            <a:lvl2pPr marL="0" marR="0" indent="337482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2pPr>
            <a:lvl3pPr marL="0" marR="0" indent="674964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3pPr>
            <a:lvl4pPr marL="0" marR="0" indent="101244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4pPr>
            <a:lvl5pPr marL="0" marR="0" indent="1349929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5pPr>
            <a:lvl6pPr marL="0" marR="0" indent="1687411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6pPr>
            <a:lvl7pPr marL="0" marR="0" indent="2024893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7pPr>
            <a:lvl8pPr marL="0" marR="0" indent="2362375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8pPr>
            <a:lvl9pPr marL="0" marR="0" indent="269985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9pPr>
          </a:lstStyle>
          <a:p>
            <a:pPr marL="0" marR="0" indent="0" algn="ctr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2756">
                <a:solidFill>
                  <a:srgbClr val="0070C0"/>
                </a:solidFill>
              </a:rPr>
              <a:t>Thank you</a:t>
            </a:r>
            <a:endParaRPr kumimoji="0" lang="en-GB" sz="2756" b="0" i="0" u="none" strike="noStrike" cap="none" spc="0" normalizeH="0" baseline="0">
              <a:ln>
                <a:noFill/>
              </a:ln>
              <a:solidFill>
                <a:srgbClr val="0070C0"/>
              </a:solidFill>
              <a:effectLst/>
              <a:uFillTx/>
              <a:latin typeface="+mj-lt"/>
              <a:ea typeface="+mj-ea"/>
              <a:cs typeface="+mj-cs"/>
              <a:sym typeface="Georgia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8C9E4D9-C34C-73E8-C586-B307D04023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965" y="1750318"/>
            <a:ext cx="7649607" cy="201698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A89879D-D31B-5A66-F229-FB2BE9B9AAE9}"/>
              </a:ext>
            </a:extLst>
          </p:cNvPr>
          <p:cNvSpPr/>
          <p:nvPr/>
        </p:nvSpPr>
        <p:spPr>
          <a:xfrm>
            <a:off x="3795458" y="4679909"/>
            <a:ext cx="1408623" cy="289550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997" tIns="44997" rIns="44997" bIns="44997" numCol="1" spcCol="38100" rtlCol="0" anchor="ctr">
            <a:spAutoFit/>
          </a:bodyPr>
          <a:lstStyle>
            <a:defPPr marL="0" marR="0" indent="0" algn="l" defTabSz="899952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77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1pPr>
            <a:lvl2pPr marL="0" marR="0" indent="337482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2pPr>
            <a:lvl3pPr marL="0" marR="0" indent="674964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3pPr>
            <a:lvl4pPr marL="0" marR="0" indent="101244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4pPr>
            <a:lvl5pPr marL="0" marR="0" indent="1349929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5pPr>
            <a:lvl6pPr marL="0" marR="0" indent="1687411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6pPr>
            <a:lvl7pPr marL="0" marR="0" indent="2024893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7pPr>
            <a:lvl8pPr marL="0" marR="0" indent="2362375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8pPr>
            <a:lvl9pPr marL="0" marR="0" indent="269985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9pPr>
          </a:lstStyle>
          <a:p>
            <a:pPr marL="0" marR="0" indent="0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NL" sz="1279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557159239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350D19D-09C7-38B9-1DD5-02F50320083D}"/>
              </a:ext>
            </a:extLst>
          </p:cNvPr>
          <p:cNvSpPr txBox="1"/>
          <p:nvPr/>
        </p:nvSpPr>
        <p:spPr>
          <a:xfrm>
            <a:off x="357335" y="364101"/>
            <a:ext cx="8172373" cy="5149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997" tIns="44997" rIns="44997" bIns="44997" numCol="1" spcCol="38100" rtlCol="0" anchor="t">
            <a:spAutoFit/>
          </a:bodyPr>
          <a:lstStyle>
            <a:defPPr marL="0" marR="0" indent="0" algn="l" defTabSz="899952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77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1pPr>
            <a:lvl2pPr marL="0" marR="0" indent="337482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2pPr>
            <a:lvl3pPr marL="0" marR="0" indent="674964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3pPr>
            <a:lvl4pPr marL="0" marR="0" indent="101244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4pPr>
            <a:lvl5pPr marL="0" marR="0" indent="1349929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5pPr>
            <a:lvl6pPr marL="0" marR="0" indent="1687411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6pPr>
            <a:lvl7pPr marL="0" marR="0" indent="2024893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7pPr>
            <a:lvl8pPr marL="0" marR="0" indent="2362375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8pPr>
            <a:lvl9pPr marL="0" marR="0" indent="269985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9pPr>
          </a:lstStyle>
          <a:p>
            <a:pPr marL="0" marR="0" indent="0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2756" b="0" i="0" u="none" strike="noStrike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rPr>
              <a:t>Agend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6AD6812-D9B4-8F4A-67B2-27E0BF0763B4}"/>
              </a:ext>
            </a:extLst>
          </p:cNvPr>
          <p:cNvSpPr txBox="1"/>
          <p:nvPr/>
        </p:nvSpPr>
        <p:spPr>
          <a:xfrm>
            <a:off x="476447" y="1151561"/>
            <a:ext cx="8303972" cy="349039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997" tIns="44997" rIns="44997" bIns="44997" numCol="1" spcCol="38100" rtlCol="0" anchor="t">
            <a:spAutoFit/>
          </a:bodyPr>
          <a:lstStyle>
            <a:defPPr marL="0" marR="0" indent="0" algn="l" defTabSz="899952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77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1pPr>
            <a:lvl2pPr marL="0" marR="0" indent="337482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2pPr>
            <a:lvl3pPr marL="0" marR="0" indent="674964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3pPr>
            <a:lvl4pPr marL="0" marR="0" indent="101244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4pPr>
            <a:lvl5pPr marL="0" marR="0" indent="1349929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5pPr>
            <a:lvl6pPr marL="0" marR="0" indent="1687411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6pPr>
            <a:lvl7pPr marL="0" marR="0" indent="2024893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7pPr>
            <a:lvl8pPr marL="0" marR="0" indent="2362375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8pPr>
            <a:lvl9pPr marL="0" marR="0" indent="269985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9pPr>
          </a:lstStyle>
          <a:p>
            <a:pPr marL="449976" indent="-449976"/>
            <a:r>
              <a:rPr lang="en-US" sz="1230" b="1" dirty="0">
                <a:effectLst/>
                <a:ea typeface="Calibri" panose="020F0502020204030204" pitchFamily="34" charset="0"/>
              </a:rPr>
              <a:t>10:00 - </a:t>
            </a:r>
            <a:r>
              <a:rPr lang="en-US" sz="1230" b="1" dirty="0">
                <a:ea typeface="Calibri" panose="020F0502020204030204" pitchFamily="34" charset="0"/>
              </a:rPr>
              <a:t>10:05</a:t>
            </a:r>
            <a:r>
              <a:rPr lang="en-US" sz="1230" b="1" dirty="0">
                <a:effectLst/>
                <a:ea typeface="Calibri" panose="020F0502020204030204" pitchFamily="34" charset="0"/>
              </a:rPr>
              <a:t>	</a:t>
            </a:r>
            <a:r>
              <a:rPr lang="en-US" sz="1230" dirty="0">
                <a:effectLst/>
                <a:ea typeface="Calibri" panose="020F0502020204030204" pitchFamily="34" charset="0"/>
              </a:rPr>
              <a:t>Welcome</a:t>
            </a:r>
          </a:p>
          <a:p>
            <a:pPr marL="449976" indent="-449976"/>
            <a:r>
              <a:rPr lang="en-US" sz="1230" i="1" dirty="0">
                <a:ea typeface="Calibri" panose="020F0502020204030204" pitchFamily="34" charset="0"/>
              </a:rPr>
              <a:t>			Gabriela Ruseva - Living-in.EU (</a:t>
            </a:r>
            <a:r>
              <a:rPr lang="en-US" sz="1230" i="1" dirty="0" err="1">
                <a:ea typeface="Calibri" panose="020F0502020204030204" pitchFamily="34" charset="0"/>
              </a:rPr>
              <a:t>Go.Li</a:t>
            </a:r>
            <a:r>
              <a:rPr lang="en-US" sz="1230" i="1" dirty="0">
                <a:ea typeface="Calibri" panose="020F0502020204030204" pitchFamily="34" charset="0"/>
              </a:rPr>
              <a:t>-EU), Eurocities</a:t>
            </a:r>
            <a:endParaRPr lang="en-GB" sz="1230" dirty="0">
              <a:effectLst/>
              <a:ea typeface="Calibri" panose="020F0502020204030204" pitchFamily="34" charset="0"/>
            </a:endParaRPr>
          </a:p>
          <a:p>
            <a:br>
              <a:rPr lang="en-US" sz="1230" b="1" dirty="0">
                <a:effectLst/>
                <a:ea typeface="Calibri" panose="020F0502020204030204" pitchFamily="34" charset="0"/>
              </a:rPr>
            </a:br>
            <a:r>
              <a:rPr lang="en-US" sz="1230" b="1" dirty="0">
                <a:effectLst/>
                <a:ea typeface="Calibri" panose="020F0502020204030204" pitchFamily="34" charset="0"/>
              </a:rPr>
              <a:t>10:05 - 10:15	</a:t>
            </a:r>
            <a:r>
              <a:rPr lang="en-GB" sz="1230" dirty="0"/>
              <a:t>Purpose and Approach of the workshop </a:t>
            </a:r>
          </a:p>
          <a:p>
            <a:r>
              <a:rPr lang="en-GB" sz="1230" i="1" dirty="0"/>
              <a:t>		</a:t>
            </a:r>
            <a:br>
              <a:rPr lang="en-GB" sz="1230" dirty="0">
                <a:effectLst/>
                <a:ea typeface="Calibri" panose="020F0502020204030204" pitchFamily="34" charset="0"/>
              </a:rPr>
            </a:br>
            <a:r>
              <a:rPr lang="en-US" sz="1230" b="1" dirty="0">
                <a:effectLst/>
                <a:ea typeface="Calibri" panose="020F0502020204030204" pitchFamily="34" charset="0"/>
              </a:rPr>
              <a:t>10:15 - 10:50</a:t>
            </a:r>
            <a:r>
              <a:rPr lang="en-US" sz="1230" b="1" dirty="0">
                <a:ea typeface="Calibri" panose="020F0502020204030204" pitchFamily="34" charset="0"/>
              </a:rPr>
              <a:t>	</a:t>
            </a:r>
            <a:r>
              <a:rPr lang="en-GB" sz="1230" dirty="0"/>
              <a:t>Break-out Session I: Art. 6,7,8</a:t>
            </a:r>
          </a:p>
          <a:p>
            <a:r>
              <a:rPr lang="en-US" sz="1230" i="1" dirty="0"/>
              <a:t>		Moderation: Jeroen Naves, Bram Kleinhout &amp;</a:t>
            </a:r>
            <a:r>
              <a:rPr lang="en-GB" sz="1230" i="1" dirty="0"/>
              <a:t> Hèlen Haaijer</a:t>
            </a:r>
            <a:r>
              <a:rPr lang="en-US" sz="1230" i="1" dirty="0"/>
              <a:t> – Pels Rijcken</a:t>
            </a:r>
          </a:p>
          <a:p>
            <a:endParaRPr lang="en-US" sz="1230" i="1" dirty="0"/>
          </a:p>
          <a:p>
            <a:r>
              <a:rPr lang="en-US" sz="1230" b="1" dirty="0"/>
              <a:t>10:55- 11:00          </a:t>
            </a:r>
            <a:r>
              <a:rPr lang="en-US" sz="1230" dirty="0"/>
              <a:t>Plenary:</a:t>
            </a:r>
            <a:r>
              <a:rPr lang="en-US" sz="1230" b="1" dirty="0"/>
              <a:t> </a:t>
            </a:r>
            <a:r>
              <a:rPr lang="en-US" sz="1230" dirty="0"/>
              <a:t>Summarising key findings from breakout session I</a:t>
            </a:r>
            <a:br>
              <a:rPr lang="en-GB" sz="1230" dirty="0">
                <a:effectLst/>
                <a:ea typeface="Calibri" panose="020F0502020204030204" pitchFamily="34" charset="0"/>
              </a:rPr>
            </a:br>
            <a:br>
              <a:rPr lang="en-GB" sz="1230" dirty="0">
                <a:effectLst/>
                <a:ea typeface="Calibri" panose="020F0502020204030204" pitchFamily="34" charset="0"/>
              </a:rPr>
            </a:br>
            <a:r>
              <a:rPr lang="en-US" sz="1230" b="1" dirty="0">
                <a:effectLst/>
                <a:ea typeface="Calibri" panose="020F0502020204030204" pitchFamily="34" charset="0"/>
              </a:rPr>
              <a:t>11:05 - 11:10	</a:t>
            </a:r>
            <a:r>
              <a:rPr lang="en-US" sz="1230" dirty="0">
                <a:effectLst/>
                <a:ea typeface="Calibri" panose="020F0502020204030204" pitchFamily="34" charset="0"/>
              </a:rPr>
              <a:t>Coffee b</a:t>
            </a:r>
            <a:r>
              <a:rPr lang="en-US" sz="1230" dirty="0">
                <a:ea typeface="Calibri" panose="020F0502020204030204" pitchFamily="34" charset="0"/>
              </a:rPr>
              <a:t>reak</a:t>
            </a:r>
          </a:p>
          <a:p>
            <a:br>
              <a:rPr lang="en-GB" sz="1230" dirty="0">
                <a:effectLst/>
                <a:ea typeface="Calibri" panose="020F0502020204030204" pitchFamily="34" charset="0"/>
              </a:rPr>
            </a:br>
            <a:r>
              <a:rPr lang="en-US" sz="1230" b="1" dirty="0">
                <a:effectLst/>
                <a:ea typeface="Calibri" panose="020F0502020204030204" pitchFamily="34" charset="0"/>
              </a:rPr>
              <a:t>11:10 - 11:45	</a:t>
            </a:r>
            <a:r>
              <a:rPr lang="en-US" sz="1230" dirty="0">
                <a:ea typeface="Calibri" panose="020F0502020204030204" pitchFamily="34" charset="0"/>
              </a:rPr>
              <a:t>Break-out session II: Art.16,17,18,19</a:t>
            </a:r>
          </a:p>
          <a:p>
            <a:pPr marL="886203" indent="1250"/>
            <a:r>
              <a:rPr lang="en-US" sz="1230" dirty="0">
                <a:effectLst/>
                <a:ea typeface="Calibri" panose="020F0502020204030204" pitchFamily="34" charset="0"/>
              </a:rPr>
              <a:t>	</a:t>
            </a:r>
            <a:r>
              <a:rPr lang="en-US" sz="1230" i="1" dirty="0">
                <a:ea typeface="Calibri" panose="020F0502020204030204" pitchFamily="34" charset="0"/>
              </a:rPr>
              <a:t>Moderation: </a:t>
            </a:r>
            <a:r>
              <a:rPr lang="en-GB" sz="1230" i="1" dirty="0"/>
              <a:t>Jeroen Naves, Bram Kleinhout and Hèlen Haaijer – Pels Rijcken	</a:t>
            </a:r>
            <a:endParaRPr lang="en-NL" sz="1230" i="1" dirty="0"/>
          </a:p>
          <a:p>
            <a:br>
              <a:rPr lang="en-GB" sz="1230" dirty="0">
                <a:effectLst/>
                <a:ea typeface="Calibri" panose="020F0502020204030204" pitchFamily="34" charset="0"/>
              </a:rPr>
            </a:br>
            <a:r>
              <a:rPr lang="en-US" sz="1230" b="1" dirty="0">
                <a:effectLst/>
                <a:ea typeface="Calibri" panose="020F0502020204030204" pitchFamily="34" charset="0"/>
              </a:rPr>
              <a:t>11:45 - 12:00</a:t>
            </a:r>
            <a:r>
              <a:rPr lang="en-GB" sz="1230" b="1" dirty="0">
                <a:effectLst/>
                <a:ea typeface="Calibri" panose="020F0502020204030204" pitchFamily="34" charset="0"/>
              </a:rPr>
              <a:t>	</a:t>
            </a:r>
            <a:r>
              <a:rPr lang="nl-NL" sz="1230" dirty="0" err="1">
                <a:effectLst/>
                <a:ea typeface="Calibri" panose="020F0502020204030204" pitchFamily="34" charset="0"/>
              </a:rPr>
              <a:t>Wrap</a:t>
            </a:r>
            <a:r>
              <a:rPr lang="nl-NL" sz="1230" dirty="0">
                <a:effectLst/>
                <a:ea typeface="Calibri" panose="020F0502020204030204" pitchFamily="34" charset="0"/>
              </a:rPr>
              <a:t>-up: </a:t>
            </a:r>
            <a:r>
              <a:rPr lang="nl-NL" sz="1230" dirty="0" err="1">
                <a:effectLst/>
                <a:ea typeface="Calibri" panose="020F0502020204030204" pitchFamily="34" charset="0"/>
              </a:rPr>
              <a:t>summarising</a:t>
            </a:r>
            <a:r>
              <a:rPr lang="nl-NL" sz="1230" dirty="0">
                <a:effectLst/>
                <a:ea typeface="Calibri" panose="020F0502020204030204" pitchFamily="34" charset="0"/>
              </a:rPr>
              <a:t> </a:t>
            </a:r>
            <a:r>
              <a:rPr lang="nl-NL" sz="1230" dirty="0" err="1">
                <a:effectLst/>
                <a:ea typeface="Calibri" panose="020F0502020204030204" pitchFamily="34" charset="0"/>
              </a:rPr>
              <a:t>key</a:t>
            </a:r>
            <a:r>
              <a:rPr lang="nl-NL" sz="1230" dirty="0">
                <a:effectLst/>
                <a:ea typeface="Calibri" panose="020F0502020204030204" pitchFamily="34" charset="0"/>
              </a:rPr>
              <a:t> </a:t>
            </a:r>
            <a:r>
              <a:rPr lang="nl-NL" sz="1230" dirty="0" err="1">
                <a:effectLst/>
                <a:ea typeface="Calibri" panose="020F0502020204030204" pitchFamily="34" charset="0"/>
              </a:rPr>
              <a:t>findings</a:t>
            </a:r>
            <a:r>
              <a:rPr lang="nl-NL" sz="1230" dirty="0">
                <a:effectLst/>
                <a:ea typeface="Calibri" panose="020F0502020204030204" pitchFamily="34" charset="0"/>
              </a:rPr>
              <a:t> </a:t>
            </a:r>
            <a:r>
              <a:rPr lang="nl-NL" sz="1230" dirty="0" err="1">
                <a:effectLst/>
                <a:ea typeface="Calibri" panose="020F0502020204030204" pitchFamily="34" charset="0"/>
              </a:rPr>
              <a:t>from</a:t>
            </a:r>
            <a:r>
              <a:rPr lang="nl-NL" sz="1230" dirty="0">
                <a:effectLst/>
                <a:ea typeface="Calibri" panose="020F0502020204030204" pitchFamily="34" charset="0"/>
              </a:rPr>
              <a:t> </a:t>
            </a:r>
            <a:r>
              <a:rPr lang="nl-NL" sz="1230" dirty="0" err="1">
                <a:effectLst/>
                <a:ea typeface="Calibri" panose="020F0502020204030204" pitchFamily="34" charset="0"/>
              </a:rPr>
              <a:t>breakout</a:t>
            </a:r>
            <a:r>
              <a:rPr lang="nl-NL" sz="1230" dirty="0">
                <a:effectLst/>
                <a:ea typeface="Calibri" panose="020F0502020204030204" pitchFamily="34" charset="0"/>
              </a:rPr>
              <a:t> </a:t>
            </a:r>
            <a:r>
              <a:rPr lang="nl-NL" sz="1230" dirty="0" err="1">
                <a:effectLst/>
                <a:ea typeface="Calibri" panose="020F0502020204030204" pitchFamily="34" charset="0"/>
              </a:rPr>
              <a:t>sessions</a:t>
            </a:r>
            <a:r>
              <a:rPr lang="nl-NL" sz="1230" dirty="0">
                <a:effectLst/>
                <a:ea typeface="Calibri" panose="020F0502020204030204" pitchFamily="34" charset="0"/>
              </a:rPr>
              <a:t> &amp; </a:t>
            </a:r>
            <a:r>
              <a:rPr lang="nl-NL" sz="1230" dirty="0" err="1">
                <a:effectLst/>
                <a:ea typeface="Calibri" panose="020F0502020204030204" pitchFamily="34" charset="0"/>
              </a:rPr>
              <a:t>Conclusions</a:t>
            </a:r>
            <a:endParaRPr lang="nl-NL" sz="1230" dirty="0">
              <a:effectLst/>
              <a:ea typeface="Calibri" panose="020F0502020204030204" pitchFamily="34" charset="0"/>
            </a:endParaRPr>
          </a:p>
          <a:p>
            <a:r>
              <a:rPr lang="en-GB" sz="1230" dirty="0">
                <a:effectLst/>
                <a:ea typeface="Calibri" panose="020F0502020204030204" pitchFamily="34" charset="0"/>
              </a:rPr>
              <a:t>		</a:t>
            </a:r>
            <a:r>
              <a:rPr lang="en-GB" sz="1230" i="1" dirty="0"/>
              <a:t> Jeroen Naves, Bram Kleinhout and Hèlen Haaijer  - Pels Rijcken</a:t>
            </a:r>
            <a:endParaRPr lang="en-GB" sz="1230" dirty="0">
              <a:effectLst/>
              <a:ea typeface="Calibri" panose="020F0502020204030204" pitchFamily="34" charset="0"/>
            </a:endParaRPr>
          </a:p>
          <a:p>
            <a:pPr marL="0" marR="0" indent="0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181" b="0" i="0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ea typeface="+mj-ea"/>
              <a:cs typeface="+mj-cs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891411948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350D19D-09C7-38B9-1DD5-02F50320083D}"/>
              </a:ext>
            </a:extLst>
          </p:cNvPr>
          <p:cNvSpPr txBox="1"/>
          <p:nvPr/>
        </p:nvSpPr>
        <p:spPr>
          <a:xfrm>
            <a:off x="357335" y="364101"/>
            <a:ext cx="8172373" cy="5149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997" tIns="44997" rIns="44997" bIns="44997" numCol="1" spcCol="38100" rtlCol="0" anchor="t">
            <a:spAutoFit/>
          </a:bodyPr>
          <a:lstStyle>
            <a:defPPr marL="0" marR="0" indent="0" algn="l" defTabSz="899952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77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1pPr>
            <a:lvl2pPr marL="0" marR="0" indent="337482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2pPr>
            <a:lvl3pPr marL="0" marR="0" indent="674964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3pPr>
            <a:lvl4pPr marL="0" marR="0" indent="101244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4pPr>
            <a:lvl5pPr marL="0" marR="0" indent="1349929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5pPr>
            <a:lvl6pPr marL="0" marR="0" indent="1687411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6pPr>
            <a:lvl7pPr marL="0" marR="0" indent="2024893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7pPr>
            <a:lvl8pPr marL="0" marR="0" indent="2362375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8pPr>
            <a:lvl9pPr marL="0" marR="0" indent="269985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9pPr>
          </a:lstStyle>
          <a:p>
            <a:pPr marL="0" marR="0" indent="0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2756" b="0" i="0" u="none" strike="noStrike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rPr>
              <a:t>Welcome – Living-</a:t>
            </a:r>
            <a:r>
              <a:rPr kumimoji="0" lang="en-GB" sz="2756" b="0" i="0" u="none" strike="noStrike" cap="none" spc="0" normalizeH="0" baseline="0" err="1">
                <a:ln>
                  <a:noFill/>
                </a:ln>
                <a:solidFill>
                  <a:srgbClr val="0070C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rPr>
              <a:t>in.eu</a:t>
            </a:r>
            <a:endParaRPr kumimoji="0" lang="en-GB" sz="2756" b="0" i="0" u="none" strike="noStrike" cap="none" spc="0" normalizeH="0" baseline="0">
              <a:ln>
                <a:noFill/>
              </a:ln>
              <a:solidFill>
                <a:srgbClr val="0070C0"/>
              </a:solidFill>
              <a:effectLst/>
              <a:uFillTx/>
              <a:latin typeface="+mj-lt"/>
              <a:ea typeface="+mj-ea"/>
              <a:cs typeface="+mj-cs"/>
              <a:sym typeface="Georgia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6AD6812-D9B4-8F4A-67B2-27E0BF0763B4}"/>
              </a:ext>
            </a:extLst>
          </p:cNvPr>
          <p:cNvSpPr txBox="1"/>
          <p:nvPr/>
        </p:nvSpPr>
        <p:spPr>
          <a:xfrm>
            <a:off x="476447" y="1151560"/>
            <a:ext cx="3533642" cy="348351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997" tIns="44997" rIns="44997" bIns="44997" numCol="1" spcCol="38100" rtlCol="0" anchor="t">
            <a:spAutoFit/>
          </a:bodyPr>
          <a:lstStyle>
            <a:defPPr marL="0" marR="0" indent="0" algn="l" defTabSz="899952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77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1pPr>
            <a:lvl2pPr marL="0" marR="0" indent="337482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2pPr>
            <a:lvl3pPr marL="0" marR="0" indent="674964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3pPr>
            <a:lvl4pPr marL="0" marR="0" indent="101244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4pPr>
            <a:lvl5pPr marL="0" marR="0" indent="1349929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5pPr>
            <a:lvl6pPr marL="0" marR="0" indent="1687411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6pPr>
            <a:lvl7pPr marL="0" marR="0" indent="2024893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7pPr>
            <a:lvl8pPr marL="0" marR="0" indent="2362375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8pPr>
            <a:lvl9pPr marL="0" marR="0" indent="269985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9pPr>
          </a:lstStyle>
          <a:p>
            <a:pPr marL="449976" indent="-449976"/>
            <a:r>
              <a:rPr lang="en-GB" sz="1575" b="1">
                <a:effectLst/>
                <a:ea typeface="Calibri" panose="020F0502020204030204" pitchFamily="34" charset="0"/>
              </a:rPr>
              <a:t>Sign the declaration</a:t>
            </a:r>
          </a:p>
          <a:p>
            <a:r>
              <a:rPr lang="en-GB" sz="1575">
                <a:ea typeface="Calibri" panose="020F0502020204030204" pitchFamily="34" charset="0"/>
              </a:rPr>
              <a:t>S</a:t>
            </a:r>
            <a:r>
              <a:rPr lang="en-GB" sz="1575">
                <a:effectLst/>
                <a:ea typeface="Calibri" panose="020F0502020204030204" pitchFamily="34" charset="0"/>
              </a:rPr>
              <a:t>upport the European way of digital transformation for cities, regions and communities.</a:t>
            </a:r>
          </a:p>
          <a:p>
            <a:pPr marL="449976" indent="-449976"/>
            <a:endParaRPr lang="en-GB" sz="1575" b="1">
              <a:ea typeface="Calibri" panose="020F0502020204030204" pitchFamily="34" charset="0"/>
            </a:endParaRPr>
          </a:p>
          <a:p>
            <a:pPr marL="449976" indent="-449976"/>
            <a:r>
              <a:rPr lang="en-GB" sz="1575" b="1">
                <a:effectLst/>
                <a:ea typeface="Calibri" panose="020F0502020204030204" pitchFamily="34" charset="0"/>
              </a:rPr>
              <a:t>Join a subgroup</a:t>
            </a:r>
          </a:p>
          <a:p>
            <a:r>
              <a:rPr lang="en-GB" sz="1575">
                <a:ea typeface="Calibri" panose="020F0502020204030204" pitchFamily="34" charset="0"/>
              </a:rPr>
              <a:t>Help shape the subgroup agenda, host sessions and connect with experts from other European cities, communities and institutions to learn and share.</a:t>
            </a:r>
          </a:p>
          <a:p>
            <a:endParaRPr lang="en-GB" sz="1575">
              <a:ea typeface="Calibri" panose="020F0502020204030204" pitchFamily="34" charset="0"/>
            </a:endParaRPr>
          </a:p>
          <a:p>
            <a:r>
              <a:rPr lang="en-GB" sz="1575">
                <a:ea typeface="Calibri" panose="020F0502020204030204" pitchFamily="34" charset="0"/>
              </a:rPr>
              <a:t>Or get in touch with: </a:t>
            </a:r>
            <a:r>
              <a:rPr lang="en-GB" sz="1575">
                <a:ea typeface="Calibri" panose="020F0502020204030204" pitchFamily="34" charset="0"/>
                <a:hlinkClick r:id="rId2"/>
              </a:rPr>
              <a:t>Gabriela.Ruseva@eurocities.eu</a:t>
            </a:r>
            <a:endParaRPr lang="en-GB" sz="1575">
              <a:ea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1F1B0A-B47B-B5EC-997D-B6E6E8B577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0088" y="1476433"/>
            <a:ext cx="4870002" cy="2480238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703D282D-B7FA-4DCA-C656-B5802201DF16}"/>
              </a:ext>
            </a:extLst>
          </p:cNvPr>
          <p:cNvCxnSpPr>
            <a:cxnSpLocks/>
          </p:cNvCxnSpPr>
          <p:nvPr/>
        </p:nvCxnSpPr>
        <p:spPr>
          <a:xfrm>
            <a:off x="1574920" y="3732312"/>
            <a:ext cx="6524664" cy="0"/>
          </a:xfrm>
          <a:prstGeom prst="straightConnector1">
            <a:avLst/>
          </a:prstGeom>
          <a:noFill/>
          <a:ln w="57150" cap="flat">
            <a:solidFill>
              <a:schemeClr val="accent1"/>
            </a:solidFill>
            <a:prstDash val="solid"/>
            <a:miter lim="8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584191274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FEA412C0-DC93-4DC1-B22A-BF3881923C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121" y="4403714"/>
            <a:ext cx="8278812" cy="180681"/>
          </a:xfrm>
        </p:spPr>
        <p:txBody>
          <a:bodyPr/>
          <a:lstStyle>
            <a:defPPr marL="0" marR="0" indent="0" algn="l" defTabSz="899952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77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1pPr>
            <a:lvl2pPr marL="0" marR="0" indent="337482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2pPr>
            <a:lvl3pPr marL="0" marR="0" indent="674964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3pPr>
            <a:lvl4pPr marL="0" marR="0" indent="101244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4pPr>
            <a:lvl5pPr marL="0" marR="0" indent="1349929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5pPr>
            <a:lvl6pPr marL="0" marR="0" indent="1687411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6pPr>
            <a:lvl7pPr marL="0" marR="0" indent="2024893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7pPr>
            <a:lvl8pPr marL="0" marR="0" indent="2362375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8pPr>
            <a:lvl9pPr marL="0" marR="0" indent="269985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9pPr>
          </a:lstStyle>
          <a:p>
            <a:pPr algn="ctr"/>
            <a:r>
              <a:rPr lang="nl-NL" dirty="0"/>
              <a:t>07 </a:t>
            </a:r>
            <a:r>
              <a:rPr lang="nl-NL" dirty="0" err="1"/>
              <a:t>June</a:t>
            </a:r>
            <a:r>
              <a:rPr lang="nl-NL" dirty="0"/>
              <a:t> 2023</a:t>
            </a:r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0B75E20-15E8-4137-A013-40BD512E9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607" y="3796229"/>
            <a:ext cx="8278326" cy="221586"/>
          </a:xfrm>
        </p:spPr>
        <p:txBody>
          <a:bodyPr/>
          <a:lstStyle>
            <a:defPPr marL="0" marR="0" indent="0" algn="l" defTabSz="899952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77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1pPr>
            <a:lvl2pPr marL="0" marR="0" indent="337482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2pPr>
            <a:lvl3pPr marL="0" marR="0" indent="674964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3pPr>
            <a:lvl4pPr marL="0" marR="0" indent="101244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4pPr>
            <a:lvl5pPr marL="0" marR="0" indent="1349929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5pPr>
            <a:lvl6pPr marL="0" marR="0" indent="1687411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6pPr>
            <a:lvl7pPr marL="0" marR="0" indent="2024893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7pPr>
            <a:lvl8pPr marL="0" marR="0" indent="2362375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8pPr>
            <a:lvl9pPr marL="0" marR="0" indent="269985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9pPr>
          </a:lstStyle>
          <a:p>
            <a:pPr algn="ctr"/>
            <a:r>
              <a:rPr lang="nl-NL" dirty="0" err="1">
                <a:cs typeface="Calibri" panose="020F0502020204030204" pitchFamily="34" charset="0"/>
              </a:rPr>
              <a:t>Drafting</a:t>
            </a:r>
            <a:r>
              <a:rPr lang="nl-NL" dirty="0">
                <a:cs typeface="Calibri" panose="020F0502020204030204" pitchFamily="34" charset="0"/>
              </a:rPr>
              <a:t> standard </a:t>
            </a:r>
            <a:r>
              <a:rPr lang="nl-NL" dirty="0" err="1">
                <a:cs typeface="Calibri" panose="020F0502020204030204" pitchFamily="34" charset="0"/>
              </a:rPr>
              <a:t>clauses</a:t>
            </a:r>
            <a:r>
              <a:rPr lang="nl-NL" dirty="0">
                <a:cs typeface="Calibri" panose="020F0502020204030204" pitchFamily="34" charset="0"/>
              </a:rPr>
              <a:t> </a:t>
            </a:r>
            <a:r>
              <a:rPr lang="nl-NL" dirty="0" err="1">
                <a:cs typeface="Calibri" panose="020F0502020204030204" pitchFamily="34" charset="0"/>
              </a:rPr>
              <a:t>for</a:t>
            </a:r>
            <a:r>
              <a:rPr lang="nl-NL" dirty="0">
                <a:cs typeface="Calibri" panose="020F0502020204030204" pitchFamily="34" charset="0"/>
              </a:rPr>
              <a:t> </a:t>
            </a:r>
            <a:r>
              <a:rPr lang="nl-NL" dirty="0" err="1">
                <a:cs typeface="Calibri" panose="020F0502020204030204" pitchFamily="34" charset="0"/>
              </a:rPr>
              <a:t>the</a:t>
            </a:r>
            <a:r>
              <a:rPr lang="nl-NL" dirty="0">
                <a:cs typeface="Calibri" panose="020F0502020204030204" pitchFamily="34" charset="0"/>
              </a:rPr>
              <a:t> </a:t>
            </a:r>
            <a:r>
              <a:rPr lang="nl-NL" dirty="0" err="1">
                <a:cs typeface="Calibri" panose="020F0502020204030204" pitchFamily="34" charset="0"/>
              </a:rPr>
              <a:t>procurement</a:t>
            </a:r>
            <a:r>
              <a:rPr lang="nl-NL" dirty="0">
                <a:cs typeface="Calibri" panose="020F0502020204030204" pitchFamily="34" charset="0"/>
              </a:rPr>
              <a:t> of AI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DA90DEAD-446B-44C9-AB70-4CAE5042F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defPPr marL="0" marR="0" indent="0" algn="l" defTabSz="899952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77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1pPr>
            <a:lvl2pPr marL="0" marR="0" indent="337482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2pPr>
            <a:lvl3pPr marL="0" marR="0" indent="674964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3pPr>
            <a:lvl4pPr marL="0" marR="0" indent="101244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4pPr>
            <a:lvl5pPr marL="0" marR="0" indent="1349929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5pPr>
            <a:lvl6pPr marL="0" marR="0" indent="1687411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6pPr>
            <a:lvl7pPr marL="0" marR="0" indent="2024893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7pPr>
            <a:lvl8pPr marL="0" marR="0" indent="2362375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8pPr>
            <a:lvl9pPr marL="0" marR="0" indent="269985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9pPr>
          </a:lstStyle>
          <a:p>
            <a:pPr algn="ctr"/>
            <a:r>
              <a:rPr lang="nl-NL" dirty="0"/>
              <a:t>Jeroen Naves</a:t>
            </a:r>
          </a:p>
        </p:txBody>
      </p:sp>
      <p:pic>
        <p:nvPicPr>
          <p:cNvPr id="12" name="Tijdelijke aanduiding voor afbeelding 3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474" b="2047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7816395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>
          <a:xfrm>
            <a:off x="512763" y="1641824"/>
            <a:ext cx="7155358" cy="2896947"/>
          </a:xfrm>
        </p:spPr>
        <p:txBody>
          <a:bodyPr/>
          <a:lstStyle/>
          <a:p>
            <a:pPr lvl="1">
              <a:buClr>
                <a:srgbClr val="EF9600"/>
              </a:buClr>
            </a:pPr>
            <a:r>
              <a:rPr lang="en-GB" dirty="0">
                <a:solidFill>
                  <a:srgbClr val="005A70"/>
                </a:solidFill>
              </a:rPr>
              <a:t>The purpose of the workshops</a:t>
            </a:r>
            <a:r>
              <a:rPr lang="en-GB" dirty="0">
                <a:solidFill>
                  <a:srgbClr val="FF0000"/>
                </a:solidFill>
              </a:rPr>
              <a:t> </a:t>
            </a:r>
            <a:r>
              <a:rPr lang="en-GB" dirty="0">
                <a:solidFill>
                  <a:srgbClr val="005A70"/>
                </a:solidFill>
              </a:rPr>
              <a:t>is to gather feedback that can be used in the preparation of a new draft of the AI Clauses (version 1.0).</a:t>
            </a:r>
          </a:p>
          <a:p>
            <a:pPr lvl="1">
              <a:buClr>
                <a:srgbClr val="EF9600"/>
              </a:buClr>
            </a:pPr>
            <a:endParaRPr lang="en-GB" dirty="0">
              <a:solidFill>
                <a:srgbClr val="005A70"/>
              </a:solidFill>
            </a:endParaRPr>
          </a:p>
          <a:p>
            <a:pPr lvl="1">
              <a:buClr>
                <a:srgbClr val="EF9600"/>
              </a:buClr>
            </a:pPr>
            <a:r>
              <a:rPr lang="en-GB" dirty="0">
                <a:solidFill>
                  <a:srgbClr val="005A70"/>
                </a:solidFill>
              </a:rPr>
              <a:t>We are looking for all kinds of feedback: </a:t>
            </a:r>
          </a:p>
          <a:p>
            <a:pPr lvl="2">
              <a:buClr>
                <a:srgbClr val="EF9600"/>
              </a:buClr>
            </a:pPr>
            <a:r>
              <a:rPr lang="en-GB" dirty="0">
                <a:solidFill>
                  <a:srgbClr val="005A70"/>
                </a:solidFill>
              </a:rPr>
              <a:t>Are the AI Clauses practicable?</a:t>
            </a:r>
          </a:p>
          <a:p>
            <a:pPr lvl="2">
              <a:buClr>
                <a:srgbClr val="EF9600"/>
              </a:buClr>
            </a:pPr>
            <a:r>
              <a:rPr lang="en-GB" dirty="0">
                <a:solidFill>
                  <a:srgbClr val="005A70"/>
                </a:solidFill>
              </a:rPr>
              <a:t>How to deal with vague terms from the AI Act?</a:t>
            </a:r>
          </a:p>
          <a:p>
            <a:pPr lvl="2">
              <a:buClr>
                <a:srgbClr val="EF9600"/>
              </a:buClr>
            </a:pPr>
            <a:r>
              <a:rPr lang="en-GB" dirty="0">
                <a:solidFill>
                  <a:srgbClr val="005A70"/>
                </a:solidFill>
              </a:rPr>
              <a:t>Are any clauses missing?</a:t>
            </a:r>
          </a:p>
          <a:p>
            <a:pPr lvl="2">
              <a:buClr>
                <a:srgbClr val="EF9600"/>
              </a:buClr>
            </a:pPr>
            <a:r>
              <a:rPr lang="en-GB" dirty="0">
                <a:solidFill>
                  <a:srgbClr val="005A70"/>
                </a:solidFill>
              </a:rPr>
              <a:t>What terms should be part of the light version of the AI Clauses?</a:t>
            </a:r>
          </a:p>
          <a:p>
            <a:pPr lvl="2">
              <a:buClr>
                <a:srgbClr val="EF9600"/>
              </a:buClr>
            </a:pPr>
            <a:r>
              <a:rPr lang="en-GB" dirty="0">
                <a:solidFill>
                  <a:srgbClr val="005A70"/>
                </a:solidFill>
              </a:rPr>
              <a:t>Etc.</a:t>
            </a:r>
          </a:p>
          <a:p>
            <a:pPr lvl="2">
              <a:buClr>
                <a:srgbClr val="EF9600"/>
              </a:buClr>
            </a:pPr>
            <a:endParaRPr lang="nl-NL" dirty="0">
              <a:solidFill>
                <a:srgbClr val="005A70"/>
              </a:solidFill>
            </a:endParaRPr>
          </a:p>
          <a:p>
            <a:pPr lvl="2">
              <a:buClr>
                <a:srgbClr val="EF9600"/>
              </a:buClr>
            </a:pPr>
            <a:endParaRPr lang="en-GB" dirty="0"/>
          </a:p>
        </p:txBody>
      </p:sp>
      <p:sp>
        <p:nvSpPr>
          <p:cNvPr id="8" name="Titel 3"/>
          <p:cNvSpPr txBox="1">
            <a:spLocks/>
          </p:cNvSpPr>
          <p:nvPr/>
        </p:nvSpPr>
        <p:spPr>
          <a:xfrm>
            <a:off x="512763" y="883469"/>
            <a:ext cx="8278812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33746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 cap="none" spc="24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nl-NL" dirty="0" err="1"/>
              <a:t>Purpose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approach of </a:t>
            </a:r>
            <a:r>
              <a:rPr lang="nl-NL" dirty="0" err="1"/>
              <a:t>the</a:t>
            </a:r>
            <a:r>
              <a:rPr lang="nl-NL" dirty="0"/>
              <a:t> workshops</a:t>
            </a:r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65522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>
          <a:xfrm>
            <a:off x="372670" y="679574"/>
            <a:ext cx="8278810" cy="3289362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Feedback will be collected in two ways:</a:t>
            </a:r>
          </a:p>
          <a:p>
            <a:pPr marL="517525" lvl="1"/>
            <a:r>
              <a:rPr lang="en-GB" dirty="0"/>
              <a:t>During the breakout sessions we will discuss key parts of the AI Clauses.</a:t>
            </a:r>
          </a:p>
          <a:p>
            <a:pPr marL="517525" lvl="1"/>
            <a:r>
              <a:rPr lang="en-GB" dirty="0"/>
              <a:t>Feedback can also be sent after the workshops.</a:t>
            </a:r>
          </a:p>
          <a:p>
            <a:endParaRPr lang="en-GB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The feedback will be written down on a Miro board.</a:t>
            </a:r>
          </a:p>
          <a:p>
            <a:endParaRPr lang="en-GB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dirty="0" err="1"/>
              <a:t>During</a:t>
            </a:r>
            <a:r>
              <a:rPr lang="nl-NL" dirty="0"/>
              <a:t> break out </a:t>
            </a:r>
            <a:r>
              <a:rPr lang="nl-NL" dirty="0" err="1"/>
              <a:t>session</a:t>
            </a:r>
            <a:r>
              <a:rPr lang="nl-NL" dirty="0"/>
              <a:t> </a:t>
            </a:r>
            <a:r>
              <a:rPr lang="nl-NL" dirty="0" err="1"/>
              <a:t>round</a:t>
            </a:r>
            <a:r>
              <a:rPr lang="nl-NL" dirty="0"/>
              <a:t> 1 we </a:t>
            </a:r>
            <a:r>
              <a:rPr lang="nl-NL" dirty="0" err="1"/>
              <a:t>discussed</a:t>
            </a:r>
            <a:r>
              <a:rPr lang="nl-NL" dirty="0"/>
              <a:t> </a:t>
            </a:r>
            <a:r>
              <a:rPr lang="nl-NL" dirty="0" err="1"/>
              <a:t>articles</a:t>
            </a:r>
            <a:r>
              <a:rPr lang="nl-NL" dirty="0"/>
              <a:t> 2 </a:t>
            </a:r>
            <a:r>
              <a:rPr lang="nl-NL" dirty="0" err="1"/>
              <a:t>and</a:t>
            </a:r>
            <a:r>
              <a:rPr lang="nl-NL" dirty="0"/>
              <a:t> 3 of </a:t>
            </a:r>
            <a:r>
              <a:rPr lang="nl-NL" dirty="0" err="1"/>
              <a:t>the</a:t>
            </a:r>
            <a:r>
              <a:rPr lang="nl-NL" dirty="0"/>
              <a:t> AI </a:t>
            </a:r>
            <a:r>
              <a:rPr lang="nl-NL" dirty="0" err="1"/>
              <a:t>Clauses</a:t>
            </a:r>
            <a:r>
              <a:rPr lang="nl-NL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Today there will be two rounds with three breakout sessions:</a:t>
            </a:r>
          </a:p>
          <a:p>
            <a:pPr marL="517525" lvl="1"/>
            <a:r>
              <a:rPr lang="en-GB" dirty="0"/>
              <a:t>Breakout session round 2: articles 6, 7 and 8 of the AI Clauses</a:t>
            </a:r>
          </a:p>
          <a:p>
            <a:pPr marL="517525" lvl="1"/>
            <a:r>
              <a:rPr lang="en-GB" dirty="0"/>
              <a:t>Breakout session round 3: articles </a:t>
            </a:r>
            <a:r>
              <a:rPr lang="nl-NL" dirty="0"/>
              <a:t>16, 17, 18 </a:t>
            </a:r>
            <a:r>
              <a:rPr lang="nl-NL" dirty="0" err="1"/>
              <a:t>and</a:t>
            </a:r>
            <a:r>
              <a:rPr lang="nl-NL" dirty="0"/>
              <a:t> 19 of </a:t>
            </a:r>
            <a:r>
              <a:rPr lang="nl-NL" dirty="0" err="1"/>
              <a:t>the</a:t>
            </a:r>
            <a:r>
              <a:rPr lang="nl-NL" dirty="0"/>
              <a:t> AI </a:t>
            </a:r>
            <a:r>
              <a:rPr lang="nl-NL" dirty="0" err="1"/>
              <a:t>Clauses</a:t>
            </a:r>
            <a:endParaRPr lang="en-GB" dirty="0"/>
          </a:p>
          <a:p>
            <a:pPr lvl="1" indent="0">
              <a:buNone/>
            </a:pPr>
            <a:endParaRPr lang="en-GB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 The breakout sessions will be moderated by myself and my colleagues Bram Kleinhout and Hèlen Haaijer.</a:t>
            </a:r>
          </a:p>
        </p:txBody>
      </p:sp>
    </p:spTree>
    <p:extLst>
      <p:ext uri="{BB962C8B-B14F-4D97-AF65-F5344CB8AC3E}">
        <p14:creationId xmlns:p14="http://schemas.microsoft.com/office/powerpoint/2010/main" val="5957057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350D19D-09C7-38B9-1DD5-02F50320083D}"/>
              </a:ext>
            </a:extLst>
          </p:cNvPr>
          <p:cNvSpPr txBox="1"/>
          <p:nvPr/>
        </p:nvSpPr>
        <p:spPr>
          <a:xfrm>
            <a:off x="179289" y="371029"/>
            <a:ext cx="8172373" cy="57553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997" tIns="44997" rIns="44997" bIns="44997" numCol="1" spcCol="38100" rtlCol="0" anchor="t">
            <a:spAutoFit/>
          </a:bodyPr>
          <a:lstStyle>
            <a:defPPr marL="0" marR="0" indent="0" algn="l" defTabSz="899952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77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1pPr>
            <a:lvl2pPr marL="0" marR="0" indent="337482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2pPr>
            <a:lvl3pPr marL="0" marR="0" indent="674964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3pPr>
            <a:lvl4pPr marL="0" marR="0" indent="101244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4pPr>
            <a:lvl5pPr marL="0" marR="0" indent="1349929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5pPr>
            <a:lvl6pPr marL="0" marR="0" indent="1687411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6pPr>
            <a:lvl7pPr marL="0" marR="0" indent="2024893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7pPr>
            <a:lvl8pPr marL="0" marR="0" indent="2362375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8pPr>
            <a:lvl9pPr marL="0" marR="0" indent="269985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9pPr>
          </a:lstStyle>
          <a:p>
            <a:r>
              <a:rPr lang="en-US" sz="3149" dirty="0">
                <a:ea typeface="Calibri" panose="020F0502020204030204" pitchFamily="34" charset="0"/>
              </a:rPr>
              <a:t>Breakout Session I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2C0DEAB-6530-6DCF-4A11-B1B70607B883}"/>
              </a:ext>
            </a:extLst>
          </p:cNvPr>
          <p:cNvSpPr txBox="1"/>
          <p:nvPr/>
        </p:nvSpPr>
        <p:spPr>
          <a:xfrm>
            <a:off x="2159509" y="3427983"/>
            <a:ext cx="4680520" cy="3678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997" tIns="44997" rIns="44997" bIns="44997" numCol="1" spcCol="38100" rtlCol="0" anchor="t">
            <a:spAutoFit/>
          </a:bodyPr>
          <a:lstStyle>
            <a:defPPr marL="0" marR="0" indent="0" algn="l" defTabSz="899952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77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1pPr>
            <a:lvl2pPr marL="0" marR="0" indent="337482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2pPr>
            <a:lvl3pPr marL="0" marR="0" indent="674964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3pPr>
            <a:lvl4pPr marL="0" marR="0" indent="101244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4pPr>
            <a:lvl5pPr marL="0" marR="0" indent="1349929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5pPr>
            <a:lvl6pPr marL="0" marR="0" indent="1687411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6pPr>
            <a:lvl7pPr marL="0" marR="0" indent="2024893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7pPr>
            <a:lvl8pPr marL="0" marR="0" indent="2362375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8pPr>
            <a:lvl9pPr marL="0" marR="0" indent="269985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9pPr>
          </a:lstStyle>
          <a:p>
            <a:pPr marL="449976" indent="-449976" algn="ctr"/>
            <a:r>
              <a:rPr lang="en-GB" sz="1800" b="1" dirty="0"/>
              <a:t>Articles 6, 7 and 8 of the AI Clauses</a:t>
            </a:r>
          </a:p>
        </p:txBody>
      </p:sp>
      <p:pic>
        <p:nvPicPr>
          <p:cNvPr id="6" name="Graphic 5" descr="Board Of Directors outline">
            <a:extLst>
              <a:ext uri="{FF2B5EF4-FFF2-40B4-BE49-F238E27FC236}">
                <a16:creationId xmlns:a16="http://schemas.microsoft.com/office/drawing/2014/main" id="{06B40864-05D5-2242-D151-602EE207AC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87701" y="1667173"/>
            <a:ext cx="1224136" cy="1224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305170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350D19D-09C7-38B9-1DD5-02F50320083D}"/>
              </a:ext>
            </a:extLst>
          </p:cNvPr>
          <p:cNvSpPr txBox="1"/>
          <p:nvPr/>
        </p:nvSpPr>
        <p:spPr>
          <a:xfrm>
            <a:off x="357335" y="364102"/>
            <a:ext cx="8172373" cy="57553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997" tIns="44997" rIns="44997" bIns="44997" numCol="1" spcCol="38100" rtlCol="0" anchor="t">
            <a:spAutoFit/>
          </a:bodyPr>
          <a:lstStyle>
            <a:defPPr marL="0" marR="0" indent="0" algn="l" defTabSz="899952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77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1pPr>
            <a:lvl2pPr marL="0" marR="0" indent="337482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2pPr>
            <a:lvl3pPr marL="0" marR="0" indent="674964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3pPr>
            <a:lvl4pPr marL="0" marR="0" indent="101244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4pPr>
            <a:lvl5pPr marL="0" marR="0" indent="1349929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5pPr>
            <a:lvl6pPr marL="0" marR="0" indent="1687411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6pPr>
            <a:lvl7pPr marL="0" marR="0" indent="2024893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7pPr>
            <a:lvl8pPr marL="0" marR="0" indent="2362375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8pPr>
            <a:lvl9pPr marL="0" marR="0" indent="269985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9pPr>
          </a:lstStyle>
          <a:p>
            <a:r>
              <a:rPr lang="en-US" sz="3149">
                <a:effectLst/>
                <a:ea typeface="Calibri" panose="020F0502020204030204" pitchFamily="34" charset="0"/>
              </a:rPr>
              <a:t>Coffee b</a:t>
            </a:r>
            <a:r>
              <a:rPr lang="en-US" sz="3149">
                <a:ea typeface="Calibri" panose="020F0502020204030204" pitchFamily="34" charset="0"/>
              </a:rPr>
              <a:t>reak</a:t>
            </a:r>
          </a:p>
        </p:txBody>
      </p:sp>
      <p:pic>
        <p:nvPicPr>
          <p:cNvPr id="4" name="Graphic 3" descr="Coffee outline">
            <a:extLst>
              <a:ext uri="{FF2B5EF4-FFF2-40B4-BE49-F238E27FC236}">
                <a16:creationId xmlns:a16="http://schemas.microsoft.com/office/drawing/2014/main" id="{695B3EA0-3D9A-E2F8-7EA1-D90C8BAB23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43808" y="1427105"/>
            <a:ext cx="1790908" cy="179090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2C0DEAB-6530-6DCF-4A11-B1B70607B883}"/>
              </a:ext>
            </a:extLst>
          </p:cNvPr>
          <p:cNvSpPr txBox="1"/>
          <p:nvPr/>
        </p:nvSpPr>
        <p:spPr>
          <a:xfrm>
            <a:off x="3266568" y="3478298"/>
            <a:ext cx="2466403" cy="7875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997" tIns="44997" rIns="44997" bIns="44997" numCol="1" spcCol="38100" rtlCol="0" anchor="t">
            <a:spAutoFit/>
          </a:bodyPr>
          <a:lstStyle>
            <a:defPPr marL="0" marR="0" indent="0" algn="l" defTabSz="899952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77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1pPr>
            <a:lvl2pPr marL="0" marR="0" indent="337482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2pPr>
            <a:lvl3pPr marL="0" marR="0" indent="674964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3pPr>
            <a:lvl4pPr marL="0" marR="0" indent="101244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4pPr>
            <a:lvl5pPr marL="0" marR="0" indent="1349929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5pPr>
            <a:lvl6pPr marL="0" marR="0" indent="1687411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6pPr>
            <a:lvl7pPr marL="0" marR="0" indent="2024893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7pPr>
            <a:lvl8pPr marL="0" marR="0" indent="2362375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8pPr>
            <a:lvl9pPr marL="0" marR="0" indent="269985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9pPr>
          </a:lstStyle>
          <a:p>
            <a:pPr marL="449976" indent="-449976" algn="ctr"/>
            <a:r>
              <a:rPr lang="nl-NL" sz="2756" b="1" dirty="0">
                <a:effectLst/>
                <a:ea typeface="Calibri" panose="020F0502020204030204" pitchFamily="34" charset="0"/>
              </a:rPr>
              <a:t>Back at 11:10</a:t>
            </a:r>
            <a:endParaRPr lang="en-GB" sz="2756" dirty="0">
              <a:effectLst/>
              <a:ea typeface="Calibri" panose="020F0502020204030204" pitchFamily="34" charset="0"/>
            </a:endParaRPr>
          </a:p>
          <a:p>
            <a:pPr marL="0" marR="0" indent="0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772" b="0" i="0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ea typeface="+mj-ea"/>
              <a:cs typeface="+mj-cs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818275444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350D19D-09C7-38B9-1DD5-02F50320083D}"/>
              </a:ext>
            </a:extLst>
          </p:cNvPr>
          <p:cNvSpPr txBox="1"/>
          <p:nvPr/>
        </p:nvSpPr>
        <p:spPr>
          <a:xfrm>
            <a:off x="179289" y="371029"/>
            <a:ext cx="8172373" cy="57553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997" tIns="44997" rIns="44997" bIns="44997" numCol="1" spcCol="38100" rtlCol="0" anchor="t">
            <a:spAutoFit/>
          </a:bodyPr>
          <a:lstStyle>
            <a:defPPr marL="0" marR="0" indent="0" algn="l" defTabSz="899952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77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1pPr>
            <a:lvl2pPr marL="0" marR="0" indent="337482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2pPr>
            <a:lvl3pPr marL="0" marR="0" indent="674964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3pPr>
            <a:lvl4pPr marL="0" marR="0" indent="101244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4pPr>
            <a:lvl5pPr marL="0" marR="0" indent="1349929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5pPr>
            <a:lvl6pPr marL="0" marR="0" indent="1687411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6pPr>
            <a:lvl7pPr marL="0" marR="0" indent="2024893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7pPr>
            <a:lvl8pPr marL="0" marR="0" indent="2362375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8pPr>
            <a:lvl9pPr marL="0" marR="0" indent="269985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9pPr>
          </a:lstStyle>
          <a:p>
            <a:r>
              <a:rPr lang="en-US" sz="3149" dirty="0">
                <a:ea typeface="Calibri" panose="020F0502020204030204" pitchFamily="34" charset="0"/>
              </a:rPr>
              <a:t>Breakout Session II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2C0DEAB-6530-6DCF-4A11-B1B70607B883}"/>
              </a:ext>
            </a:extLst>
          </p:cNvPr>
          <p:cNvSpPr txBox="1"/>
          <p:nvPr/>
        </p:nvSpPr>
        <p:spPr>
          <a:xfrm>
            <a:off x="2159509" y="3323357"/>
            <a:ext cx="4680520" cy="9390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997" tIns="44997" rIns="44997" bIns="44997" numCol="1" spcCol="38100" rtlCol="0" anchor="t">
            <a:spAutoFit/>
          </a:bodyPr>
          <a:lstStyle>
            <a:defPPr marL="0" marR="0" indent="0" algn="l" defTabSz="899952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77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1pPr>
            <a:lvl2pPr marL="0" marR="0" indent="337482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2pPr>
            <a:lvl3pPr marL="0" marR="0" indent="674964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3pPr>
            <a:lvl4pPr marL="0" marR="0" indent="101244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4pPr>
            <a:lvl5pPr marL="0" marR="0" indent="1349929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5pPr>
            <a:lvl6pPr marL="0" marR="0" indent="1687411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6pPr>
            <a:lvl7pPr marL="0" marR="0" indent="2024893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7pPr>
            <a:lvl8pPr marL="0" marR="0" indent="2362375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8pPr>
            <a:lvl9pPr marL="0" marR="0" indent="2699857" algn="l" defTabSz="67496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79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Georgia"/>
              </a:defRPr>
            </a:lvl9pPr>
          </a:lstStyle>
          <a:p>
            <a:pPr marL="449976" indent="-449976" algn="ctr"/>
            <a:r>
              <a:rPr lang="en-GB" sz="2756" b="1" dirty="0"/>
              <a:t>Articles </a:t>
            </a:r>
            <a:r>
              <a:rPr lang="nl-NL" sz="2756" b="1" dirty="0"/>
              <a:t>16, 17, 18 </a:t>
            </a:r>
            <a:r>
              <a:rPr lang="nl-NL" sz="2756" b="1" dirty="0" err="1"/>
              <a:t>and</a:t>
            </a:r>
            <a:r>
              <a:rPr lang="nl-NL" sz="2756" b="1" dirty="0"/>
              <a:t> 19 of </a:t>
            </a:r>
            <a:r>
              <a:rPr lang="nl-NL" sz="2756" b="1" dirty="0" err="1"/>
              <a:t>the</a:t>
            </a:r>
            <a:r>
              <a:rPr lang="nl-NL" sz="2756" b="1" dirty="0"/>
              <a:t> AI </a:t>
            </a:r>
            <a:r>
              <a:rPr lang="nl-NL" sz="2756" b="1" dirty="0" err="1"/>
              <a:t>Clauses</a:t>
            </a:r>
            <a:endParaRPr lang="en-GB" sz="2756" b="1" dirty="0"/>
          </a:p>
        </p:txBody>
      </p:sp>
      <p:pic>
        <p:nvPicPr>
          <p:cNvPr id="6" name="Graphic 5" descr="Board Of Directors outline">
            <a:extLst>
              <a:ext uri="{FF2B5EF4-FFF2-40B4-BE49-F238E27FC236}">
                <a16:creationId xmlns:a16="http://schemas.microsoft.com/office/drawing/2014/main" id="{06B40864-05D5-2242-D151-602EE207AC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87701" y="1667173"/>
            <a:ext cx="1224136" cy="1224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87699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b_9jiCT6aHqhgYQis6RQ"/>
</p:tagLst>
</file>

<file path=ppt/theme/theme1.xml><?xml version="1.0" encoding="utf-8"?>
<a:theme xmlns:a="http://schemas.openxmlformats.org/drawingml/2006/main" name="Pels Rijcken Content">
  <a:themeElements>
    <a:clrScheme name="Aangepast 3">
      <a:dk1>
        <a:srgbClr val="005A70"/>
      </a:dk1>
      <a:lt1>
        <a:sysClr val="window" lastClr="FFFFFF"/>
      </a:lt1>
      <a:dk2>
        <a:srgbClr val="EF9600"/>
      </a:dk2>
      <a:lt2>
        <a:srgbClr val="005A70"/>
      </a:lt2>
      <a:accent1>
        <a:srgbClr val="8FAFBD"/>
      </a:accent1>
      <a:accent2>
        <a:srgbClr val="E5EEF0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5A70"/>
      </a:hlink>
      <a:folHlink>
        <a:srgbClr val="005A70"/>
      </a:folHlink>
    </a:clrScheme>
    <a:fontScheme name="PelsRijcke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e1" id="{74DC0B84-7483-447F-8362-26D5A601EFC2}" vid="{91C089DF-E3E3-4FC9-8EA4-50A5059ABC77}"/>
    </a:ext>
  </a:extLst>
</a:theme>
</file>

<file path=ppt/theme/theme2.xml><?xml version="1.0" encoding="utf-8"?>
<a:theme xmlns:a="http://schemas.openxmlformats.org/drawingml/2006/main" name="Cover slide">
  <a:themeElements>
    <a:clrScheme name="Pels Rijcken">
      <a:dk1>
        <a:sysClr val="windowText" lastClr="000000"/>
      </a:dk1>
      <a:lt1>
        <a:sysClr val="window" lastClr="FFFFFF"/>
      </a:lt1>
      <a:dk2>
        <a:srgbClr val="EF9600"/>
      </a:dk2>
      <a:lt2>
        <a:srgbClr val="005A70"/>
      </a:lt2>
      <a:accent1>
        <a:srgbClr val="8FAFBD"/>
      </a:accent1>
      <a:accent2>
        <a:srgbClr val="E5EEF0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5A70"/>
      </a:hlink>
      <a:folHlink>
        <a:srgbClr val="005A70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e1" id="{74DC0B84-7483-447F-8362-26D5A601EFC2}" vid="{2D443F7B-015E-4A0F-A150-877710E4EF57}"/>
    </a:ext>
  </a:extLst>
</a:theme>
</file>

<file path=ppt/theme/theme3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FFCC00"/>
      </a:accent1>
      <a:accent2>
        <a:srgbClr val="00A03C"/>
      </a:accent2>
      <a:accent3>
        <a:srgbClr val="DA4290"/>
      </a:accent3>
      <a:accent4>
        <a:srgbClr val="643C91"/>
      </a:accent4>
      <a:accent5>
        <a:srgbClr val="E63232"/>
      </a:accent5>
      <a:accent6>
        <a:srgbClr val="00AAC8"/>
      </a:accent6>
      <a:hlink>
        <a:srgbClr val="0000FF"/>
      </a:hlink>
      <a:folHlink>
        <a:srgbClr val="FF00FF"/>
      </a:folHlink>
    </a:clrScheme>
    <a:fontScheme name="Office Theme">
      <a:majorFont>
        <a:latin typeface="Georgia"/>
        <a:ea typeface="Georgia"/>
        <a:cs typeface="Georgia"/>
      </a:majorFont>
      <a:minorFont>
        <a:latin typeface="Helvetica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685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3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Georgi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685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3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Georgi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A0CC5DD66341C4A9508E1EAA15F4DAE" ma:contentTypeVersion="14" ma:contentTypeDescription="Create a new document." ma:contentTypeScope="" ma:versionID="182983c6f4bbe44410716e47f521442c">
  <xsd:schema xmlns:xsd="http://www.w3.org/2001/XMLSchema" xmlns:xs="http://www.w3.org/2001/XMLSchema" xmlns:p="http://schemas.microsoft.com/office/2006/metadata/properties" xmlns:ns2="8a76d636-ca4f-4901-812a-d32b669073ae" xmlns:ns3="4bd7deb4-c537-4c22-9a3c-b70252b40dfd" targetNamespace="http://schemas.microsoft.com/office/2006/metadata/properties" ma:root="true" ma:fieldsID="bdf49d1eba2201e77c76005cc0569226" ns2:_="" ns3:_="">
    <xsd:import namespace="8a76d636-ca4f-4901-812a-d32b669073ae"/>
    <xsd:import namespace="4bd7deb4-c537-4c22-9a3c-b70252b40df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76d636-ca4f-4901-812a-d32b669073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7bf449dd-4976-4e8a-8b91-70ac2170588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d7deb4-c537-4c22-9a3c-b70252b40dfd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0c92fd5a-87de-4336-adf9-9bb8c2be9dcb}" ma:internalName="TaxCatchAll" ma:showField="CatchAllData" ma:web="4bd7deb4-c537-4c22-9a3c-b70252b40df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a76d636-ca4f-4901-812a-d32b669073ae">
      <Terms xmlns="http://schemas.microsoft.com/office/infopath/2007/PartnerControls"/>
    </lcf76f155ced4ddcb4097134ff3c332f>
    <TaxCatchAll xmlns="4bd7deb4-c537-4c22-9a3c-b70252b40dfd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ED0CFAA-CCAA-4873-AB35-50227484C0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a76d636-ca4f-4901-812a-d32b669073ae"/>
    <ds:schemaRef ds:uri="4bd7deb4-c537-4c22-9a3c-b70252b40df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1D4A04D-FA45-4940-A2D8-9AB0D31570AD}">
  <ds:schemaRefs>
    <ds:schemaRef ds:uri="http://schemas.microsoft.com/office/2006/metadata/properties"/>
    <ds:schemaRef ds:uri="http://schemas.microsoft.com/office/infopath/2007/PartnerControls"/>
    <ds:schemaRef ds:uri="8a76d636-ca4f-4901-812a-d32b669073ae"/>
    <ds:schemaRef ds:uri="4bd7deb4-c537-4c22-9a3c-b70252b40dfd"/>
  </ds:schemaRefs>
</ds:datastoreItem>
</file>

<file path=customXml/itemProps3.xml><?xml version="1.0" encoding="utf-8"?>
<ds:datastoreItem xmlns:ds="http://schemas.openxmlformats.org/officeDocument/2006/customXml" ds:itemID="{A7A141F5-C7F2-42F5-8FA5-92B972244CB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. Pels Rijcken</Template>
  <TotalTime>0</TotalTime>
  <Words>544</Words>
  <Application>Microsoft Office PowerPoint</Application>
  <PresentationFormat>Custom</PresentationFormat>
  <Paragraphs>68</Paragraphs>
  <Slides>1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1</vt:i4>
      </vt:variant>
    </vt:vector>
  </HeadingPairs>
  <TitlesOfParts>
    <vt:vector size="14" baseType="lpstr">
      <vt:lpstr>Pels Rijcken Content</vt:lpstr>
      <vt:lpstr>Cover slide</vt:lpstr>
      <vt:lpstr>Office Theme</vt:lpstr>
      <vt:lpstr>PowerPoint Presentation</vt:lpstr>
      <vt:lpstr>PowerPoint Presentation</vt:lpstr>
      <vt:lpstr>PowerPoint Presentation</vt:lpstr>
      <vt:lpstr>Drafting standard clauses for the procurement of AI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ckground on the AI Clauses</dc:title>
  <dc:creator>Jeroen Naves | Pels Rijcken</dc:creator>
  <cp:lastModifiedBy>Viviana Demonte</cp:lastModifiedBy>
  <cp:revision>10</cp:revision>
  <dcterms:created xsi:type="dcterms:W3CDTF">2023-05-24T19:12:00Z</dcterms:created>
  <dcterms:modified xsi:type="dcterms:W3CDTF">2023-06-13T09:0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A0CC5DD66341C4A9508E1EAA15F4DAE</vt:lpwstr>
  </property>
  <property fmtid="{D5CDD505-2E9C-101B-9397-08002B2CF9AE}" pid="3" name="MediaServiceImageTags">
    <vt:lpwstr/>
  </property>
</Properties>
</file>